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81" r:id="rId1"/>
    <p:sldMasterId id="2147483683" r:id="rId2"/>
    <p:sldMasterId id="2147483698" r:id="rId3"/>
    <p:sldMasterId id="2147483708" r:id="rId4"/>
    <p:sldMasterId id="2147483722" r:id="rId5"/>
  </p:sldMasterIdLst>
  <p:notesMasterIdLst>
    <p:notesMasterId r:id="rId26"/>
  </p:notesMasterIdLst>
  <p:sldIdLst>
    <p:sldId id="292" r:id="rId6"/>
    <p:sldId id="277" r:id="rId7"/>
    <p:sldId id="278" r:id="rId8"/>
    <p:sldId id="283" r:id="rId9"/>
    <p:sldId id="280" r:id="rId10"/>
    <p:sldId id="294" r:id="rId11"/>
    <p:sldId id="281" r:id="rId12"/>
    <p:sldId id="282" r:id="rId13"/>
    <p:sldId id="279" r:id="rId14"/>
    <p:sldId id="270" r:id="rId15"/>
    <p:sldId id="284" r:id="rId16"/>
    <p:sldId id="287" r:id="rId17"/>
    <p:sldId id="286" r:id="rId18"/>
    <p:sldId id="295" r:id="rId19"/>
    <p:sldId id="288" r:id="rId20"/>
    <p:sldId id="271" r:id="rId21"/>
    <p:sldId id="289" r:id="rId22"/>
    <p:sldId id="290" r:id="rId23"/>
    <p:sldId id="291" r:id="rId24"/>
    <p:sldId id="293" r:id="rId25"/>
  </p:sldIdLst>
  <p:sldSz cx="12192000" cy="6858000"/>
  <p:notesSz cx="6797675" cy="9872663"/>
  <p:embeddedFontLst>
    <p:embeddedFont>
      <p:font typeface="Calibri Light" panose="020F0302020204030204" pitchFamily="34" charset="0"/>
      <p:regular r:id="rId27"/>
      <p:italic r:id="rId28"/>
    </p:embeddedFont>
    <p:embeddedFont>
      <p:font typeface="Nixie One" panose="020B0604020202020204" charset="0"/>
      <p:regular r:id="rId29"/>
    </p:embeddedFont>
    <p:embeddedFont>
      <p:font typeface="Cambria" panose="02040503050406030204" pitchFamily="18" charset="0"/>
      <p:regular r:id="rId30"/>
      <p:bold r:id="rId31"/>
      <p:italic r:id="rId32"/>
      <p:boldItalic r:id="rId33"/>
    </p:embeddedFont>
    <p:embeddedFont>
      <p:font typeface="Raleway" panose="020B0604020202020204" charset="0"/>
      <p:regular r:id="rId34"/>
      <p:bold r:id="rId35"/>
      <p:italic r:id="rId36"/>
      <p:boldItalic r:id="rId37"/>
    </p:embeddedFont>
    <p:embeddedFont>
      <p:font typeface="Corbel" panose="020B0503020204020204" pitchFamily="34" charset="0"/>
      <p:regular r:id="rId38"/>
      <p:bold r:id="rId39"/>
      <p:italic r:id="rId40"/>
      <p:boldItalic r:id="rId41"/>
    </p:embeddedFont>
    <p:embeddedFont>
      <p:font typeface="Calibri" panose="020F0502020204030204" pitchFamily="34" charset="0"/>
      <p:regular r:id="rId42"/>
      <p:bold r:id="rId43"/>
      <p:italic r:id="rId44"/>
      <p:boldItalic r:id="rId4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7" clrIdx="0">
    <p:extLst>
      <p:ext uri="{19B8F6BF-5375-455C-9EA6-DF929625EA0E}">
        <p15:presenceInfo xmlns:p15="http://schemas.microsoft.com/office/powerpoint/2012/main" userId=" 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FF34115-5494-458A-87B9-3AD86FD8E5CF}">
  <a:tblStyle styleId="{4FF34115-5494-458A-87B9-3AD86FD8E5CF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band1H>
    <a:band1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1V>
    <a:band2V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C68ABAD3-AA38-4938-9A59-5979D318BD6F}" styleName="Table_1"/>
  <a:tblStyle styleId="{E273B8A3-6E56-49E9-8828-CA5B83A79B5A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9EFF7"/>
          </a:solidFill>
        </a:fill>
      </a:tcStyle>
    </a:wholeTbl>
    <a:band1H>
      <a:tcStyle>
        <a:tcBdr/>
        <a:fill>
          <a:solidFill>
            <a:srgbClr val="D0DEEF"/>
          </a:solidFill>
        </a:fill>
      </a:tcStyle>
    </a:band1H>
    <a:band1V>
      <a:tcStyle>
        <a:tcBdr/>
        <a:fill>
          <a:solidFill>
            <a:srgbClr val="D0DEEF"/>
          </a:solidFill>
        </a:fill>
      </a:tcStyle>
    </a:band1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7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9" Type="http://schemas.openxmlformats.org/officeDocument/2006/relationships/font" Target="fonts/font13.fntdata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font" Target="fonts/font8.fntdata"/><Relationship Id="rId42" Type="http://schemas.openxmlformats.org/officeDocument/2006/relationships/font" Target="fonts/font16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font" Target="fonts/font7.fntdata"/><Relationship Id="rId38" Type="http://schemas.openxmlformats.org/officeDocument/2006/relationships/font" Target="fonts/font12.fntdata"/><Relationship Id="rId46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font" Target="fonts/font3.fntdata"/><Relationship Id="rId41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font" Target="fonts/font14.fntdata"/><Relationship Id="rId45" Type="http://schemas.openxmlformats.org/officeDocument/2006/relationships/font" Target="fonts/font19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font" Target="fonts/font5.fntdata"/><Relationship Id="rId44" Type="http://schemas.openxmlformats.org/officeDocument/2006/relationships/font" Target="fonts/font18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font" Target="fonts/font17.fntdata"/><Relationship Id="rId48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79769" y="4689487"/>
            <a:ext cx="5438139" cy="444268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376835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Shape 10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Shape 10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96958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40119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Shape 370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71" name="Shape 371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8674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Shape 383"/>
          <p:cNvSpPr txBox="1">
            <a:spLocks noGrp="1"/>
          </p:cNvSpPr>
          <p:nvPr>
            <p:ph type="body" idx="1"/>
          </p:nvPr>
        </p:nvSpPr>
        <p:spPr>
          <a:xfrm>
            <a:off x="679768" y="4751213"/>
            <a:ext cx="5438140" cy="38874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384" name="Shape 384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362311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 txBox="1">
            <a:spLocks noGrp="1"/>
          </p:cNvSpPr>
          <p:nvPr>
            <p:ph type="ctrTitle"/>
          </p:nvPr>
        </p:nvSpPr>
        <p:spPr>
          <a:xfrm>
            <a:off x="1524000" y="1041400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5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64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spcBef>
                <a:spcPts val="56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7" name="Shape 11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" name="Shape 1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" name="Shape 1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" name="Shape 1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Shape 1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3" name="Shape 1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" name="Shape 124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" name="Shape 12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" name="Shape 1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" name="Shape 1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Shape 147"/>
          <p:cNvSpPr txBox="1">
            <a:spLocks noGrp="1"/>
          </p:cNvSpPr>
          <p:nvPr>
            <p:ph type="ctrTitle"/>
          </p:nvPr>
        </p:nvSpPr>
        <p:spPr>
          <a:xfrm>
            <a:off x="1524000" y="1122362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48" name="Shape 148"/>
          <p:cNvSpPr txBox="1"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9" name="Shape 14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0" name="Shape 15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1" name="Shape 15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54" name="Shape 154"/>
          <p:cNvSpPr txBox="1">
            <a:spLocks noGrp="1"/>
          </p:cNvSpPr>
          <p:nvPr>
            <p:ph type="body" idx="1"/>
          </p:nvPr>
        </p:nvSpPr>
        <p:spPr>
          <a:xfrm>
            <a:off x="831850" y="4589462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rgbClr val="888888"/>
              </a:buClr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rgbClr val="888888"/>
              </a:buClr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5" name="Shape 15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6" name="Shape 15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7" name="Shape 15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Shape 159"/>
          <p:cNvSpPr txBox="1">
            <a:spLocks noGrp="1"/>
          </p:cNvSpPr>
          <p:nvPr>
            <p:ph type="title"/>
          </p:nvPr>
        </p:nvSpPr>
        <p:spPr>
          <a:xfrm>
            <a:off x="839787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60" name="Shape 160"/>
          <p:cNvSpPr txBox="1">
            <a:spLocks noGrp="1"/>
          </p:cNvSpPr>
          <p:nvPr>
            <p:ph type="body" idx="1"/>
          </p:nvPr>
        </p:nvSpPr>
        <p:spPr>
          <a:xfrm>
            <a:off x="839787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1" name="Shape 161"/>
          <p:cNvSpPr txBox="1">
            <a:spLocks noGrp="1"/>
          </p:cNvSpPr>
          <p:nvPr>
            <p:ph type="body" idx="2"/>
          </p:nvPr>
        </p:nvSpPr>
        <p:spPr>
          <a:xfrm>
            <a:off x="839787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" name="Shape 16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" name="Shape 16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" name="Shape 16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5" name="Shape 16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" name="Shape 16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69" name="Shape 16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0" name="Shape 17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" name="Shape 17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Shape 173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74" name="Shape 174"/>
          <p:cNvSpPr txBox="1">
            <a:spLocks noGrp="1"/>
          </p:cNvSpPr>
          <p:nvPr>
            <p:ph type="body" idx="1"/>
          </p:nvPr>
        </p:nvSpPr>
        <p:spPr>
          <a:xfrm>
            <a:off x="5183187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5" name="Shape 175"/>
          <p:cNvSpPr txBox="1">
            <a:spLocks noGrp="1"/>
          </p:cNvSpPr>
          <p:nvPr>
            <p:ph type="body" idx="2"/>
          </p:nvPr>
        </p:nvSpPr>
        <p:spPr>
          <a:xfrm>
            <a:off x="839787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6" name="Shape 17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7" name="Shape 17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8" name="Shape 17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81" name="Shape 181"/>
          <p:cNvSpPr>
            <a:spLocks noGrp="1"/>
          </p:cNvSpPr>
          <p:nvPr>
            <p:ph type="pic" idx="2"/>
          </p:nvPr>
        </p:nvSpPr>
        <p:spPr>
          <a:xfrm>
            <a:off x="5183187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2" name="Shape 182"/>
          <p:cNvSpPr txBox="1">
            <a:spLocks noGrp="1"/>
          </p:cNvSpPr>
          <p:nvPr>
            <p:ph type="body" idx="1"/>
          </p:nvPr>
        </p:nvSpPr>
        <p:spPr>
          <a:xfrm>
            <a:off x="839787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3" name="Shape 18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" name="Shape 18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" name="Shape 18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Shape 187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88" name="Shape 188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9" name="Shape 18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0" name="Shape 19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" name="Shape 19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hape 193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4" name="Shape 194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" name="Shape 19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" name="Shape 19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" name="Shape 19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body" idx="1"/>
          </p:nvPr>
        </p:nvSpPr>
        <p:spPr>
          <a:xfrm>
            <a:off x="838200" y="1820863"/>
            <a:ext cx="5181600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6510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3335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body" idx="2"/>
          </p:nvPr>
        </p:nvSpPr>
        <p:spPr>
          <a:xfrm>
            <a:off x="6172200" y="1820863"/>
            <a:ext cx="5181600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6510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3335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–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3" name="Shape 3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1093201" y="3867025"/>
            <a:ext cx="9395999" cy="15465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60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72252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ctrTitle"/>
          </p:nvPr>
        </p:nvSpPr>
        <p:spPr>
          <a:xfrm>
            <a:off x="914400" y="3482725"/>
            <a:ext cx="7500000" cy="15465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buSzPct val="100000"/>
              <a:defRPr sz="48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ubTitle" idx="1"/>
          </p:nvPr>
        </p:nvSpPr>
        <p:spPr>
          <a:xfrm>
            <a:off x="914400" y="5158346"/>
            <a:ext cx="7500000" cy="10464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Font typeface="Nixie One"/>
              <a:buNone/>
              <a:defRPr b="1">
                <a:latin typeface="Nixie One"/>
                <a:ea typeface="Nixie One"/>
                <a:cs typeface="Nixie One"/>
                <a:sym typeface="Nixie One"/>
              </a:defRPr>
            </a:lvl1pPr>
            <a:lvl2pPr lvl="1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2pPr>
            <a:lvl3pPr lvl="2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3pPr>
            <a:lvl4pPr lvl="3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4pPr>
            <a:lvl5pPr lvl="4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5pPr>
            <a:lvl6pPr lvl="5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6pPr>
            <a:lvl7pPr lvl="6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7pPr>
            <a:lvl8pPr lvl="7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8pPr>
            <a:lvl9pPr lvl="8" rtl="0">
              <a:spcBef>
                <a:spcPts val="0"/>
              </a:spcBef>
              <a:buSzPct val="100000"/>
              <a:buFont typeface="Nixie One"/>
              <a:buNone/>
              <a:defRPr sz="3000" b="1"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05991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/>
          <p:nvPr/>
        </p:nvSpPr>
        <p:spPr>
          <a:xfrm>
            <a:off x="5624401" y="0"/>
            <a:ext cx="943199" cy="2523000"/>
          </a:xfrm>
          <a:prstGeom prst="rect">
            <a:avLst/>
          </a:prstGeom>
          <a:solidFill>
            <a:srgbClr val="B0E0E6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15" name="Shape 15"/>
          <p:cNvSpPr txBox="1">
            <a:spLocks noGrp="1"/>
          </p:cNvSpPr>
          <p:nvPr>
            <p:ph type="body" idx="1"/>
          </p:nvPr>
        </p:nvSpPr>
        <p:spPr>
          <a:xfrm>
            <a:off x="1756000" y="2882401"/>
            <a:ext cx="8680000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/>
            </a:lvl1pPr>
            <a:lvl2pPr lvl="1" algn="ctr" rtl="0">
              <a:spcBef>
                <a:spcPts val="0"/>
              </a:spcBef>
              <a:defRPr/>
            </a:lvl2pPr>
            <a:lvl3pPr lvl="2" algn="ctr" rtl="0">
              <a:spcBef>
                <a:spcPts val="0"/>
              </a:spcBef>
              <a:defRPr/>
            </a:lvl3pPr>
            <a:lvl4pPr lvl="3" algn="ctr" rtl="0">
              <a:spcBef>
                <a:spcPts val="0"/>
              </a:spcBef>
              <a:defRPr/>
            </a:lvl4pPr>
            <a:lvl5pPr lvl="4" algn="ctr" rtl="0">
              <a:spcBef>
                <a:spcPts val="0"/>
              </a:spcBef>
              <a:defRPr/>
            </a:lvl5pPr>
            <a:lvl6pPr lvl="5" algn="ctr" rtl="0">
              <a:spcBef>
                <a:spcPts val="0"/>
              </a:spcBef>
              <a:defRPr/>
            </a:lvl6pPr>
            <a:lvl7pPr lvl="6" algn="ctr" rtl="0">
              <a:spcBef>
                <a:spcPts val="0"/>
              </a:spcBef>
              <a:defRPr/>
            </a:lvl7pPr>
            <a:lvl8pPr lvl="7" algn="ctr" rtl="0">
              <a:spcBef>
                <a:spcPts val="0"/>
              </a:spcBef>
              <a:defRPr/>
            </a:lvl8pPr>
            <a:lvl9pPr lvl="8" algn="ctr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6" name="Shape 16"/>
          <p:cNvSpPr txBox="1"/>
          <p:nvPr/>
        </p:nvSpPr>
        <p:spPr>
          <a:xfrm>
            <a:off x="4791200" y="1651425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>
                <a:solidFill>
                  <a:srgbClr val="DC143C"/>
                </a:solidFill>
                <a:latin typeface="Nixie One"/>
                <a:ea typeface="Nixie One"/>
                <a:cs typeface="Nixie One"/>
                <a:sym typeface="Nixie One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39238515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hape 1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46586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>
  <p:cSld name="Title + 2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2"/>
          </p:nvPr>
        </p:nvSpPr>
        <p:spPr>
          <a:xfrm>
            <a:off x="6256364" y="1600200"/>
            <a:ext cx="53260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94895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3 columns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body" idx="2"/>
          </p:nvPr>
        </p:nvSpPr>
        <p:spPr>
          <a:xfrm>
            <a:off x="4298621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body" idx="3"/>
          </p:nvPr>
        </p:nvSpPr>
        <p:spPr>
          <a:xfrm>
            <a:off x="7987643" y="1600200"/>
            <a:ext cx="3509200" cy="4967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SzPct val="100000"/>
              <a:defRPr sz="2000"/>
            </a:lvl1pPr>
            <a:lvl2pPr lvl="1" rtl="0">
              <a:spcBef>
                <a:spcPts val="0"/>
              </a:spcBef>
              <a:buSzPct val="100000"/>
              <a:defRPr sz="2000"/>
            </a:lvl2pPr>
            <a:lvl3pPr lvl="2" rtl="0">
              <a:spcBef>
                <a:spcPts val="0"/>
              </a:spcBef>
              <a:buSzPct val="100000"/>
              <a:defRPr sz="2000"/>
            </a:lvl3pPr>
            <a:lvl4pPr lvl="3" rtl="0">
              <a:spcBef>
                <a:spcPts val="0"/>
              </a:spcBef>
              <a:buSzPct val="100000"/>
              <a:defRPr sz="2000"/>
            </a:lvl4pPr>
            <a:lvl5pPr lvl="4" rtl="0">
              <a:spcBef>
                <a:spcPts val="0"/>
              </a:spcBef>
              <a:buSzPct val="100000"/>
              <a:defRPr sz="2000"/>
            </a:lvl5pPr>
            <a:lvl6pPr lvl="5" rtl="0">
              <a:spcBef>
                <a:spcPts val="0"/>
              </a:spcBef>
              <a:buSzPct val="100000"/>
              <a:defRPr sz="2000"/>
            </a:lvl6pPr>
            <a:lvl7pPr lvl="6" rtl="0">
              <a:spcBef>
                <a:spcPts val="0"/>
              </a:spcBef>
              <a:buSzPct val="100000"/>
              <a:defRPr sz="2000"/>
            </a:lvl7pPr>
            <a:lvl8pPr lvl="7" rtl="0">
              <a:spcBef>
                <a:spcPts val="0"/>
              </a:spcBef>
              <a:buSzPct val="100000"/>
              <a:defRPr sz="2000"/>
            </a:lvl8pPr>
            <a:lvl9pPr lvl="8" rtl="0">
              <a:spcBef>
                <a:spcPts val="0"/>
              </a:spcBef>
              <a:buSzPct val="100000"/>
              <a:defRPr sz="2000"/>
            </a:lvl9pPr>
          </a:lstStyle>
          <a:p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title"/>
          </p:nvPr>
        </p:nvSpPr>
        <p:spPr>
          <a:xfrm>
            <a:off x="609600" y="689771"/>
            <a:ext cx="10972800" cy="727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rtl="0">
              <a:lnSpc>
                <a:spcPct val="115000"/>
              </a:lnSpc>
              <a:spcBef>
                <a:spcPts val="0"/>
              </a:spcBef>
              <a:buClr>
                <a:srgbClr val="222222"/>
              </a:buClr>
              <a:defRPr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06930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609600" y="458074"/>
            <a:ext cx="10972800" cy="618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1pPr>
            <a:lvl2pPr lvl="1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2pPr>
            <a:lvl3pPr lvl="2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3pPr>
            <a:lvl4pPr lvl="3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4pPr>
            <a:lvl5pPr lvl="4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5pPr>
            <a:lvl6pPr lvl="5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6pPr>
            <a:lvl7pPr lvl="6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7pPr>
            <a:lvl8pPr lvl="7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8pPr>
            <a:lvl9pPr lvl="8" algn="ctr">
              <a:spcBef>
                <a:spcPts val="0"/>
              </a:spcBef>
              <a:buClr>
                <a:srgbClr val="222222"/>
              </a:buClr>
              <a:buSzPct val="100000"/>
              <a:defRPr sz="3000">
                <a:solidFill>
                  <a:srgbClr val="222222"/>
                </a:solidFill>
                <a:highlight>
                  <a:srgbClr val="B0E0E6"/>
                </a:highlight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581379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ptio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body" idx="1"/>
          </p:nvPr>
        </p:nvSpPr>
        <p:spPr>
          <a:xfrm>
            <a:off x="609600" y="5875078"/>
            <a:ext cx="10972800" cy="6927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>
              <a:spcBef>
                <a:spcPts val="360"/>
              </a:spcBef>
              <a:buSzPct val="100000"/>
              <a:buNone/>
              <a:defRPr sz="1800"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05111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36951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962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831850" y="274637"/>
            <a:ext cx="10515599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831850" y="1535112"/>
            <a:ext cx="5156199" cy="6397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36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831850" y="2174875"/>
            <a:ext cx="5156199" cy="39973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905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5875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3"/>
          </p:nvPr>
        </p:nvSpPr>
        <p:spPr>
          <a:xfrm>
            <a:off x="6189662" y="1535112"/>
            <a:ext cx="5157787" cy="6397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360"/>
              </a:spcBef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32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body" idx="4"/>
          </p:nvPr>
        </p:nvSpPr>
        <p:spPr>
          <a:xfrm>
            <a:off x="6189662" y="2174875"/>
            <a:ext cx="5157787" cy="39973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905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5875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14300" algn="l" rtl="0">
              <a:spcBef>
                <a:spcPts val="36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27000" algn="l" rtl="0">
              <a:spcBef>
                <a:spcPts val="320"/>
              </a:spcBef>
              <a:buClr>
                <a:schemeClr val="dk1"/>
              </a:buClr>
              <a:buSzPct val="1000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4" name="Shape 44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8901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33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89664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890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787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6321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4835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767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745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866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2280567" y="2882401"/>
            <a:ext cx="7631599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 i="1"/>
            </a:lvl1pPr>
            <a:lvl2pPr lvl="1" algn="ctr" rtl="0">
              <a:spcBef>
                <a:spcPts val="0"/>
              </a:spcBef>
              <a:defRPr i="1"/>
            </a:lvl2pPr>
            <a:lvl3pPr lvl="2" algn="ctr" rtl="0">
              <a:spcBef>
                <a:spcPts val="0"/>
              </a:spcBef>
              <a:defRPr i="1"/>
            </a:lvl3pPr>
            <a:lvl4pPr lvl="3" algn="ctr" rtl="0">
              <a:spcBef>
                <a:spcPts val="0"/>
              </a:spcBef>
              <a:defRPr i="1"/>
            </a:lvl4pPr>
            <a:lvl5pPr lvl="4" algn="ctr" rtl="0">
              <a:spcBef>
                <a:spcPts val="0"/>
              </a:spcBef>
              <a:defRPr i="1"/>
            </a:lvl5pPr>
            <a:lvl6pPr lvl="5" algn="ctr" rtl="0">
              <a:spcBef>
                <a:spcPts val="0"/>
              </a:spcBef>
              <a:defRPr i="1"/>
            </a:lvl6pPr>
            <a:lvl7pPr lvl="6" algn="ctr" rtl="0">
              <a:spcBef>
                <a:spcPts val="0"/>
              </a:spcBef>
              <a:defRPr i="1"/>
            </a:lvl7pPr>
            <a:lvl8pPr lvl="7" algn="ctr" rtl="0">
              <a:spcBef>
                <a:spcPts val="0"/>
              </a:spcBef>
              <a:defRPr i="1"/>
            </a:lvl8pPr>
            <a:lvl9pPr lvl="8" algn="ctr">
              <a:spcBef>
                <a:spcPts val="0"/>
              </a:spcBef>
              <a:defRPr i="1"/>
            </a:lvl9pPr>
          </a:lstStyle>
          <a:p>
            <a:endParaRPr/>
          </a:p>
        </p:txBody>
      </p:sp>
      <p:sp>
        <p:nvSpPr>
          <p:cNvPr id="23" name="Shape 23"/>
          <p:cNvSpPr txBox="1"/>
          <p:nvPr/>
        </p:nvSpPr>
        <p:spPr>
          <a:xfrm>
            <a:off x="4791200" y="1575226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 b="1" kern="1200">
                <a:solidFill>
                  <a:srgbClr val="97ABBC"/>
                </a:solidFill>
                <a:latin typeface="Calibri" panose="020F0502020204030204"/>
                <a:ea typeface="+mn-ea"/>
                <a:cs typeface="+mn-cs"/>
              </a:rPr>
              <a:t>“</a:t>
            </a:r>
          </a:p>
        </p:txBody>
      </p:sp>
      <p:sp>
        <p:nvSpPr>
          <p:cNvPr id="24" name="Shape 24"/>
          <p:cNvSpPr/>
          <p:nvPr/>
        </p:nvSpPr>
        <p:spPr>
          <a:xfrm>
            <a:off x="7631044" y="2132901"/>
            <a:ext cx="2280400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25"/>
          <p:cNvSpPr/>
          <p:nvPr/>
        </p:nvSpPr>
        <p:spPr>
          <a:xfrm>
            <a:off x="9912235" y="2132901"/>
            <a:ext cx="2280400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0" y="2132901"/>
            <a:ext cx="22804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Shape 27"/>
          <p:cNvSpPr/>
          <p:nvPr/>
        </p:nvSpPr>
        <p:spPr>
          <a:xfrm>
            <a:off x="2280565" y="2132901"/>
            <a:ext cx="22804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9791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1191600" y="274650"/>
            <a:ext cx="86168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1191600" y="1831451"/>
            <a:ext cx="8616800" cy="473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/>
          <p:nvPr/>
        </p:nvSpPr>
        <p:spPr>
          <a:xfrm>
            <a:off x="9808489" y="6755101"/>
            <a:ext cx="1191599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Shape 32"/>
          <p:cNvSpPr/>
          <p:nvPr/>
        </p:nvSpPr>
        <p:spPr>
          <a:xfrm>
            <a:off x="11000415" y="6755101"/>
            <a:ext cx="1191599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Shape 33"/>
          <p:cNvSpPr/>
          <p:nvPr/>
        </p:nvSpPr>
        <p:spPr>
          <a:xfrm>
            <a:off x="1" y="6755101"/>
            <a:ext cx="11915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Shape 34"/>
          <p:cNvSpPr/>
          <p:nvPr/>
        </p:nvSpPr>
        <p:spPr>
          <a:xfrm>
            <a:off x="1191612" y="6755101"/>
            <a:ext cx="86168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5951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4928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686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3852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2790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1087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0882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6175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163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hape 5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2" name="Shape 52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28041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023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FBD0E-3C50-402E-B530-EAA0D42F9F7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5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FC6CE4-D494-44A5-9A4A-A498CA4AACDF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25951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2280567" y="2882401"/>
            <a:ext cx="7631599" cy="10931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algn="ctr" rtl="0">
              <a:spcBef>
                <a:spcPts val="0"/>
              </a:spcBef>
              <a:defRPr i="1"/>
            </a:lvl1pPr>
            <a:lvl2pPr lvl="1" algn="ctr" rtl="0">
              <a:spcBef>
                <a:spcPts val="0"/>
              </a:spcBef>
              <a:defRPr i="1"/>
            </a:lvl2pPr>
            <a:lvl3pPr lvl="2" algn="ctr" rtl="0">
              <a:spcBef>
                <a:spcPts val="0"/>
              </a:spcBef>
              <a:defRPr i="1"/>
            </a:lvl3pPr>
            <a:lvl4pPr lvl="3" algn="ctr" rtl="0">
              <a:spcBef>
                <a:spcPts val="0"/>
              </a:spcBef>
              <a:defRPr i="1"/>
            </a:lvl4pPr>
            <a:lvl5pPr lvl="4" algn="ctr" rtl="0">
              <a:spcBef>
                <a:spcPts val="0"/>
              </a:spcBef>
              <a:defRPr i="1"/>
            </a:lvl5pPr>
            <a:lvl6pPr lvl="5" algn="ctr" rtl="0">
              <a:spcBef>
                <a:spcPts val="0"/>
              </a:spcBef>
              <a:defRPr i="1"/>
            </a:lvl6pPr>
            <a:lvl7pPr lvl="6" algn="ctr" rtl="0">
              <a:spcBef>
                <a:spcPts val="0"/>
              </a:spcBef>
              <a:defRPr i="1"/>
            </a:lvl7pPr>
            <a:lvl8pPr lvl="7" algn="ctr" rtl="0">
              <a:spcBef>
                <a:spcPts val="0"/>
              </a:spcBef>
              <a:defRPr i="1"/>
            </a:lvl8pPr>
            <a:lvl9pPr lvl="8" algn="ctr">
              <a:spcBef>
                <a:spcPts val="0"/>
              </a:spcBef>
              <a:defRPr i="1"/>
            </a:lvl9pPr>
          </a:lstStyle>
          <a:p>
            <a:endParaRPr/>
          </a:p>
        </p:txBody>
      </p:sp>
      <p:sp>
        <p:nvSpPr>
          <p:cNvPr id="23" name="Shape 23"/>
          <p:cNvSpPr txBox="1"/>
          <p:nvPr/>
        </p:nvSpPr>
        <p:spPr>
          <a:xfrm>
            <a:off x="4791200" y="1575226"/>
            <a:ext cx="2609600" cy="8714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algn="ctr"/>
            <a:r>
              <a:rPr lang="en" sz="9600" b="1" kern="1200">
                <a:solidFill>
                  <a:srgbClr val="97ABBC"/>
                </a:solidFill>
                <a:latin typeface="Calibri" panose="020F0502020204030204"/>
                <a:ea typeface="+mn-ea"/>
                <a:cs typeface="+mn-cs"/>
              </a:rPr>
              <a:t>“</a:t>
            </a:r>
          </a:p>
        </p:txBody>
      </p:sp>
      <p:sp>
        <p:nvSpPr>
          <p:cNvPr id="24" name="Shape 24"/>
          <p:cNvSpPr/>
          <p:nvPr/>
        </p:nvSpPr>
        <p:spPr>
          <a:xfrm>
            <a:off x="7631044" y="2132901"/>
            <a:ext cx="2280400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hape 25"/>
          <p:cNvSpPr/>
          <p:nvPr/>
        </p:nvSpPr>
        <p:spPr>
          <a:xfrm>
            <a:off x="9912235" y="2132901"/>
            <a:ext cx="2280400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hape 26"/>
          <p:cNvSpPr/>
          <p:nvPr/>
        </p:nvSpPr>
        <p:spPr>
          <a:xfrm>
            <a:off x="0" y="2132901"/>
            <a:ext cx="2280400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Shape 27"/>
          <p:cNvSpPr/>
          <p:nvPr/>
        </p:nvSpPr>
        <p:spPr>
          <a:xfrm>
            <a:off x="2280565" y="2132901"/>
            <a:ext cx="22804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2683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1 column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1191600" y="274650"/>
            <a:ext cx="8616800" cy="11430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1191600" y="1831451"/>
            <a:ext cx="8616800" cy="47363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31" name="Shape 31"/>
          <p:cNvSpPr/>
          <p:nvPr/>
        </p:nvSpPr>
        <p:spPr>
          <a:xfrm>
            <a:off x="9808489" y="6755101"/>
            <a:ext cx="1191599" cy="102899"/>
          </a:xfrm>
          <a:prstGeom prst="rect">
            <a:avLst/>
          </a:prstGeom>
          <a:solidFill>
            <a:srgbClr val="FF971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Shape 32"/>
          <p:cNvSpPr/>
          <p:nvPr/>
        </p:nvSpPr>
        <p:spPr>
          <a:xfrm>
            <a:off x="11000415" y="6755101"/>
            <a:ext cx="1191599" cy="102899"/>
          </a:xfrm>
          <a:prstGeom prst="rect">
            <a:avLst/>
          </a:prstGeom>
          <a:solidFill>
            <a:srgbClr val="F20253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Shape 33"/>
          <p:cNvSpPr/>
          <p:nvPr/>
        </p:nvSpPr>
        <p:spPr>
          <a:xfrm>
            <a:off x="1" y="6755101"/>
            <a:ext cx="1191599" cy="102899"/>
          </a:xfrm>
          <a:prstGeom prst="rect">
            <a:avLst/>
          </a:prstGeom>
          <a:solidFill>
            <a:srgbClr val="7ECEFD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Shape 34"/>
          <p:cNvSpPr/>
          <p:nvPr/>
        </p:nvSpPr>
        <p:spPr>
          <a:xfrm>
            <a:off x="1191612" y="6755101"/>
            <a:ext cx="8616800" cy="102899"/>
          </a:xfrm>
          <a:prstGeom prst="rect">
            <a:avLst/>
          </a:prstGeom>
          <a:solidFill>
            <a:srgbClr val="2185C5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 sz="1800" kern="120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351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 txBox="1">
            <a:spLocks noGrp="1"/>
          </p:cNvSpPr>
          <p:nvPr>
            <p:ph type="title"/>
          </p:nvPr>
        </p:nvSpPr>
        <p:spPr>
          <a:xfrm>
            <a:off x="831850" y="685800"/>
            <a:ext cx="4013200" cy="11604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body" idx="1"/>
          </p:nvPr>
        </p:nvSpPr>
        <p:spPr>
          <a:xfrm>
            <a:off x="5046662" y="685800"/>
            <a:ext cx="6300787" cy="54863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body" idx="2"/>
          </p:nvPr>
        </p:nvSpPr>
        <p:spPr>
          <a:xfrm>
            <a:off x="831850" y="1846263"/>
            <a:ext cx="4013200" cy="43259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24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2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Shape 5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Shape 59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 txBox="1">
            <a:spLocks noGrp="1"/>
          </p:cNvSpPr>
          <p:nvPr>
            <p:ph type="title"/>
          </p:nvPr>
        </p:nvSpPr>
        <p:spPr>
          <a:xfrm>
            <a:off x="2505075" y="4800600"/>
            <a:ext cx="7177087" cy="56673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20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3" name="Shape 63"/>
          <p:cNvSpPr>
            <a:spLocks noGrp="1"/>
          </p:cNvSpPr>
          <p:nvPr>
            <p:ph type="pic" idx="2"/>
          </p:nvPr>
        </p:nvSpPr>
        <p:spPr>
          <a:xfrm>
            <a:off x="2505075" y="685800"/>
            <a:ext cx="7177087" cy="404177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640"/>
              </a:spcBef>
              <a:buClr>
                <a:schemeClr val="dk1"/>
              </a:buClr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560"/>
              </a:spcBef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480"/>
              </a:spcBef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4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2505075" y="5367337"/>
            <a:ext cx="7177087" cy="80486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280"/>
              </a:spcBef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240"/>
              </a:spcBef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2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180"/>
              </a:spcBef>
              <a:buClr>
                <a:schemeClr val="dk1"/>
              </a:buClr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Title and Vertical 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61268"/>
            <a:ext cx="4351336" cy="10515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1" name="Shape 7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2" name="Shape 72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Vertical Title and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 rot="5400000">
            <a:off x="7090568" y="1908969"/>
            <a:ext cx="5897562" cy="2628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body" idx="1"/>
          </p:nvPr>
        </p:nvSpPr>
        <p:spPr>
          <a:xfrm rot="5400000">
            <a:off x="1756568" y="-643730"/>
            <a:ext cx="5897562" cy="7734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" name="Shape 7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" name="Shape 78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9" name="Shape 79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838200" y="274637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838200" y="1820863"/>
            <a:ext cx="10515599" cy="43513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742950" marR="0" lvl="1" indent="-107950" algn="l" rtl="0">
              <a:spcBef>
                <a:spcPts val="560"/>
              </a:spcBef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76200" algn="l" rtl="0">
              <a:spcBef>
                <a:spcPts val="48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01600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Shape 9"/>
          <p:cNvSpPr txBox="1">
            <a:spLocks noGrp="1"/>
          </p:cNvSpPr>
          <p:nvPr>
            <p:ph type="ftr" idx="11"/>
          </p:nvPr>
        </p:nvSpPr>
        <p:spPr>
          <a:xfrm>
            <a:off x="4648200" y="6356350"/>
            <a:ext cx="28956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Shape 10"/>
          <p:cNvSpPr txBox="1">
            <a:spLocks noGrp="1"/>
          </p:cNvSpPr>
          <p:nvPr>
            <p:ph type="sldNum" idx="12"/>
          </p:nvPr>
        </p:nvSpPr>
        <p:spPr>
          <a:xfrm>
            <a:off x="8077200" y="6356350"/>
            <a:ext cx="327660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 rtl="0">
              <a:spcBef>
                <a:spcPts val="0"/>
              </a:spcBef>
              <a:buNone/>
              <a:defRPr sz="1800"/>
            </a:lvl2pPr>
            <a:lvl3pPr lvl="2" indent="0" rtl="0">
              <a:spcBef>
                <a:spcPts val="0"/>
              </a:spcBef>
              <a:buNone/>
              <a:defRPr sz="1800"/>
            </a:lvl3pPr>
            <a:lvl4pPr lvl="3" indent="0" rtl="0">
              <a:spcBef>
                <a:spcPts val="0"/>
              </a:spcBef>
              <a:buNone/>
              <a:defRPr sz="1800"/>
            </a:lvl4pPr>
            <a:lvl5pPr lvl="4" indent="0" rtl="0">
              <a:spcBef>
                <a:spcPts val="0"/>
              </a:spcBef>
              <a:buNone/>
              <a:defRPr sz="1800"/>
            </a:lvl5pPr>
            <a:lvl6pPr lvl="5" indent="0" rtl="0">
              <a:spcBef>
                <a:spcPts val="0"/>
              </a:spcBef>
              <a:buNone/>
              <a:defRPr sz="1800"/>
            </a:lvl6pPr>
            <a:lvl7pPr lvl="6" indent="0" rtl="0">
              <a:spcBef>
                <a:spcPts val="0"/>
              </a:spcBef>
              <a:buNone/>
              <a:defRPr sz="1800"/>
            </a:lvl7pPr>
            <a:lvl8pPr lvl="7" indent="0" rtl="0">
              <a:spcBef>
                <a:spcPts val="0"/>
              </a:spcBef>
              <a:buNone/>
              <a:defRPr sz="1800"/>
            </a:lvl8pPr>
            <a:lvl9pPr lvl="8" indent="0" rtl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1" name="Shape 1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2" name="Shape 1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3" name="Shape 1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en-GB" sz="1200" b="0" i="0" u="none" strike="noStrike" cap="none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1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FFFFFF"/>
              </a:buClr>
              <a:buSzPct val="100000"/>
              <a:buFont typeface="Nixie One"/>
              <a:buNone/>
              <a:defRPr sz="3600">
                <a:solidFill>
                  <a:srgbClr val="FFFFFF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FFFFFF"/>
              </a:buClr>
              <a:buSzPct val="100000"/>
              <a:buFont typeface="Raleway"/>
              <a:buChar char="◎"/>
              <a:defRPr sz="2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lvl="1">
              <a:spcBef>
                <a:spcPts val="480"/>
              </a:spcBef>
              <a:buClr>
                <a:srgbClr val="FFFFFF"/>
              </a:buClr>
              <a:buSzPct val="100000"/>
              <a:buFont typeface="Raleway"/>
              <a:defRPr sz="24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lvl="2">
              <a:spcBef>
                <a:spcPts val="480"/>
              </a:spcBef>
              <a:buClr>
                <a:srgbClr val="FFFFFF"/>
              </a:buClr>
              <a:buSzPct val="100000"/>
              <a:buFont typeface="Raleway"/>
              <a:defRPr sz="24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lvl="3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lvl="4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lvl="5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lvl="6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lvl="7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lvl="8">
              <a:spcBef>
                <a:spcPts val="360"/>
              </a:spcBef>
              <a:buClr>
                <a:srgbClr val="FFFFFF"/>
              </a:buClr>
              <a:buSzPct val="100000"/>
              <a:buFont typeface="Raleway"/>
              <a:defRPr sz="1800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18114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FBD0E-3C50-402E-B530-EAA0D42F9F7B}" type="datetimeFigureOut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09/05/2017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FC6CE4-D494-44A5-9A4A-A498CA4AACDF}" type="slidenum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7369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FBD0E-3C50-402E-B530-EAA0D42F9F7B}" type="datetimeFigureOut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09/05/2017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FC6CE4-D494-44A5-9A4A-A498CA4AACDF}" type="slidenum">
              <a:rPr lang="en-GB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‹#›</a:t>
            </a:fld>
            <a:endParaRPr lang="en-GB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5142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mailto:Elnaz.Kashef@educationandemployers.org" TargetMode="Externa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.pn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slideLayout" Target="../slideLayouts/slideLayout45.xml"/><Relationship Id="rId4" Type="http://schemas.openxmlformats.org/officeDocument/2006/relationships/tags" Target="../tags/tag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ducationandemployers.org/research-type/taskforce-publications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8.png"/><Relationship Id="rId4" Type="http://schemas.openxmlformats.org/officeDocument/2006/relationships/hyperlink" Target="mailto:Elnaz.Kashef@educationandemployers.or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203"/>
          <p:cNvSpPr txBox="1">
            <a:spLocks noGrp="1"/>
          </p:cNvSpPr>
          <p:nvPr>
            <p:ph type="body" idx="1"/>
          </p:nvPr>
        </p:nvSpPr>
        <p:spPr>
          <a:xfrm>
            <a:off x="368969" y="1553029"/>
            <a:ext cx="5465773" cy="2674111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algn="ctr">
              <a:buNone/>
            </a:pPr>
            <a:r>
              <a:rPr lang="en-GB" sz="3500" b="1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Contemporary transitions: Young Britons reflect on life after secondary school and college</a:t>
            </a:r>
          </a:p>
        </p:txBody>
      </p:sp>
      <p:sp>
        <p:nvSpPr>
          <p:cNvPr id="10" name="Shape 205"/>
          <p:cNvSpPr txBox="1"/>
          <p:nvPr/>
        </p:nvSpPr>
        <p:spPr>
          <a:xfrm>
            <a:off x="1498027" y="5449089"/>
            <a:ext cx="3207656" cy="82716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 algn="ctr">
              <a:spcBef>
                <a:spcPts val="0"/>
              </a:spcBef>
              <a:buNone/>
            </a:pPr>
            <a:endParaRPr lang="en-GB" sz="2000" dirty="0">
              <a:solidFill>
                <a:schemeClr val="bg1"/>
              </a:solidFill>
            </a:endParaRPr>
          </a:p>
          <a:p>
            <a:pPr lvl="0" algn="ctr">
              <a:spcBef>
                <a:spcPts val="0"/>
              </a:spcBef>
              <a:buNone/>
            </a:pPr>
            <a:r>
              <a:rPr lang="en-GB" sz="2000" b="1" dirty="0">
                <a:solidFill>
                  <a:srgbClr val="00B0F0"/>
                </a:solidFill>
              </a:rPr>
              <a:t>@</a:t>
            </a:r>
            <a:r>
              <a:rPr lang="en-GB" sz="2000" b="1" dirty="0" err="1" smtClean="0">
                <a:solidFill>
                  <a:srgbClr val="00B0F0"/>
                </a:solidFill>
              </a:rPr>
              <a:t>Edu_EResearch</a:t>
            </a:r>
            <a:endParaRPr lang="en-GB" sz="2000" b="1" dirty="0" smtClean="0">
              <a:solidFill>
                <a:srgbClr val="00B0F0"/>
              </a:solidFill>
            </a:endParaRPr>
          </a:p>
          <a:p>
            <a:pPr lvl="0" algn="ctr">
              <a:spcBef>
                <a:spcPts val="0"/>
              </a:spcBef>
              <a:buNone/>
            </a:pPr>
            <a:endParaRPr lang="en-GB" sz="2000" b="1" dirty="0">
              <a:solidFill>
                <a:schemeClr val="bg1"/>
              </a:solidFill>
            </a:endParaRPr>
          </a:p>
          <a:p>
            <a:pPr lvl="0" algn="ctr"/>
            <a:endParaRPr lang="en-GB" sz="2000" b="1" dirty="0" smtClean="0">
              <a:solidFill>
                <a:schemeClr val="bg1"/>
              </a:solidFill>
            </a:endParaRPr>
          </a:p>
          <a:p>
            <a:pPr lvl="0" algn="ctr"/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12" name="Shape 203"/>
          <p:cNvSpPr txBox="1">
            <a:spLocks/>
          </p:cNvSpPr>
          <p:nvPr/>
        </p:nvSpPr>
        <p:spPr>
          <a:xfrm>
            <a:off x="-314110" y="4644074"/>
            <a:ext cx="6831930" cy="121859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 algn="ctr">
              <a:buFont typeface="Raleway"/>
              <a:buNone/>
            </a:pPr>
            <a:r>
              <a:rPr lang="en-GB" sz="1900" dirty="0">
                <a:solidFill>
                  <a:schemeClr val="bg1"/>
                </a:solidFill>
              </a:rPr>
              <a:t>Dr Elnaz T. </a:t>
            </a:r>
            <a:r>
              <a:rPr lang="en-GB" sz="1900" dirty="0" err="1">
                <a:solidFill>
                  <a:schemeClr val="bg1"/>
                </a:solidFill>
              </a:rPr>
              <a:t>Kashefpakdel</a:t>
            </a:r>
            <a:endParaRPr lang="en-GB" sz="1900" dirty="0">
              <a:solidFill>
                <a:schemeClr val="bg1"/>
              </a:solidFill>
            </a:endParaRPr>
          </a:p>
          <a:p>
            <a:pPr algn="ctr">
              <a:buFont typeface="Raleway"/>
              <a:buNone/>
            </a:pPr>
            <a:r>
              <a:rPr lang="en-GB" sz="1900" dirty="0" smtClean="0">
                <a:solidFill>
                  <a:schemeClr val="bg1"/>
                </a:solidFill>
              </a:rPr>
              <a:t>Head of Research </a:t>
            </a:r>
            <a:r>
              <a:rPr lang="en-GB" sz="1900" dirty="0">
                <a:solidFill>
                  <a:schemeClr val="bg1"/>
                </a:solidFill>
              </a:rPr>
              <a:t>|  Education and Employers </a:t>
            </a:r>
          </a:p>
          <a:p>
            <a:pPr algn="ctr">
              <a:buFont typeface="Raleway"/>
              <a:buNone/>
            </a:pPr>
            <a:r>
              <a:rPr lang="en-GB" sz="1900" dirty="0">
                <a:solidFill>
                  <a:schemeClr val="bg1"/>
                </a:solidFill>
                <a:hlinkClick r:id="rId2"/>
              </a:rPr>
              <a:t>Elnaz.Kashef@educationandemployers.org</a:t>
            </a:r>
            <a:endParaRPr lang="en-GB" sz="1900" dirty="0">
              <a:solidFill>
                <a:schemeClr val="bg1"/>
              </a:solidFill>
            </a:endParaRPr>
          </a:p>
          <a:p>
            <a:pPr algn="ctr">
              <a:buFont typeface="Raleway"/>
              <a:buNone/>
            </a:pPr>
            <a:r>
              <a:rPr lang="en-GB" sz="19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3" name="Shape 2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733783" y="262392"/>
            <a:ext cx="2794200" cy="953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3638" y="1368232"/>
            <a:ext cx="6228361" cy="416334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027" y="5862669"/>
            <a:ext cx="414999" cy="33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28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Shape 373"/>
          <p:cNvSpPr txBox="1">
            <a:spLocks noGrp="1"/>
          </p:cNvSpPr>
          <p:nvPr>
            <p:ph type="title"/>
          </p:nvPr>
        </p:nvSpPr>
        <p:spPr>
          <a:xfrm>
            <a:off x="406400" y="377293"/>
            <a:ext cx="10248900" cy="1713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25000"/>
              <a:buFont typeface="Calibri"/>
              <a:buNone/>
            </a:pP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a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Most young people educated in the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te sector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ink that their schools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pared them poorly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for adult working life; </a:t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2300" b="0" i="0" u="none" strike="noStrike" cap="none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b)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Young adults who experienced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eater volume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f school-mediated employer engagement </a:t>
            </a:r>
            <a:r>
              <a:rPr lang="en-GB" sz="23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eel better prepared </a:t>
            </a:r>
            <a:r>
              <a:rPr lang="en-GB" sz="23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or the adult working world </a:t>
            </a:r>
          </a:p>
        </p:txBody>
      </p:sp>
      <p:pic>
        <p:nvPicPr>
          <p:cNvPr id="374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75" name="Shape 375"/>
          <p:cNvGraphicFramePr/>
          <p:nvPr>
            <p:extLst>
              <p:ext uri="{D42A27DB-BD31-4B8C-83A1-F6EECF244321}">
                <p14:modId xmlns:p14="http://schemas.microsoft.com/office/powerpoint/2010/main" val="862886579"/>
              </p:ext>
            </p:extLst>
          </p:nvPr>
        </p:nvGraphicFramePr>
        <p:xfrm>
          <a:off x="406400" y="2326413"/>
          <a:ext cx="5390400" cy="4341075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663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747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647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773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651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533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School type at age 1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ct val="25000"/>
                        <a:buFont typeface="Corbel"/>
                        <a:buNone/>
                      </a:pPr>
                      <a:r>
                        <a:rPr lang="en-GB" sz="1100">
                          <a:sym typeface="Corbel"/>
                        </a:rPr>
                        <a:t>N= </a:t>
                      </a:r>
                      <a:r>
                        <a:rPr lang="en-GB" sz="1000">
                          <a:sym typeface="Corbel"/>
                        </a:rPr>
                        <a:t>1,676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000">
                        <a:latin typeface="Cambria"/>
                        <a:ea typeface="Cambria"/>
                        <a:cs typeface="Cambria"/>
                        <a:sym typeface="Cambria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35550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6725">
                <a:tc row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on-selective state school, i.e. comprehensiv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9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3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3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Grammar / selective state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9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5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4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81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Independent / fee-paying schoo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4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611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2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91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7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8125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2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376" name="Shape 376"/>
          <p:cNvCxnSpPr/>
          <p:nvPr/>
        </p:nvCxnSpPr>
        <p:spPr>
          <a:xfrm flipH="1">
            <a:off x="6169760" y="2091001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accent5"/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77" name="Shape 377"/>
          <p:cNvGraphicFramePr/>
          <p:nvPr>
            <p:extLst>
              <p:ext uri="{D42A27DB-BD31-4B8C-83A1-F6EECF244321}">
                <p14:modId xmlns:p14="http://schemas.microsoft.com/office/powerpoint/2010/main" val="3204308358"/>
              </p:ext>
            </p:extLst>
          </p:nvPr>
        </p:nvGraphicFramePr>
        <p:xfrm>
          <a:off x="6636485" y="2326413"/>
          <a:ext cx="5034800" cy="4341000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57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24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4852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3647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7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0250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041025">
                <a:tc rowSpan="2" gridSpan="3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P-value: 0.00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olume of activities</a:t>
                      </a: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endParaRPr sz="1100">
                        <a:sym typeface="Corbel"/>
                      </a:endParaRPr>
                    </a:p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=1,756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Looking back, how well do you feel that your school/college prepared you for adult working life?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4025"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wel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Quite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Very poorly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7000">
                <a:tc rowSpan="5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 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Never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4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On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7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wice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3.7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8.5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70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hre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9.9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8.3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6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2395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Four or more times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2.8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55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6.0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7000">
                <a:tc rowSpan="2" gridSpan="2"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Total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Count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10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2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704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219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7000">
                <a:tc gridSpan="2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en-GB" sz="1100">
                          <a:sym typeface="Corbel"/>
                        </a:rPr>
                        <a:t>% </a:t>
                      </a:r>
                      <a:endParaRPr lang="en-GB" sz="1100">
                        <a:latin typeface="Corbel"/>
                        <a:ea typeface="Corbel"/>
                        <a:cs typeface="Corbel"/>
                        <a:sym typeface="Corbel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6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1.2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>
                          <a:sym typeface="Calibri"/>
                        </a:rPr>
                        <a:t>40.1%</a:t>
                      </a:r>
                      <a:endParaRPr lang="en-GB" sz="110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lvl="0" indent="0" algn="ctr" rtl="0">
                        <a:lnSpc>
                          <a:spcPct val="145454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100" dirty="0">
                          <a:sym typeface="Calibri"/>
                        </a:rPr>
                        <a:t>12.5%</a:t>
                      </a:r>
                      <a:endParaRPr lang="en-GB" sz="1100" dirty="0">
                        <a:solidFill>
                          <a:srgbClr val="000000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78" name="Shape 378"/>
          <p:cNvSpPr/>
          <p:nvPr/>
        </p:nvSpPr>
        <p:spPr>
          <a:xfrm>
            <a:off x="4590314" y="3941367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" name="Shape 379"/>
          <p:cNvSpPr/>
          <p:nvPr/>
        </p:nvSpPr>
        <p:spPr>
          <a:xfrm>
            <a:off x="3370376" y="5188744"/>
            <a:ext cx="11556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" name="Shape 380"/>
          <p:cNvSpPr/>
          <p:nvPr/>
        </p:nvSpPr>
        <p:spPr>
          <a:xfrm>
            <a:off x="10044227" y="3766344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" name="Shape 381"/>
          <p:cNvSpPr/>
          <p:nvPr/>
        </p:nvSpPr>
        <p:spPr>
          <a:xfrm>
            <a:off x="8513139" y="5265669"/>
            <a:ext cx="1531200" cy="863700"/>
          </a:xfrm>
          <a:prstGeom prst="ellipse">
            <a:avLst/>
          </a:prstGeom>
          <a:noFill/>
          <a:ln w="19050" cap="flat" cmpd="sng">
            <a:solidFill>
              <a:srgbClr val="C00000"/>
            </a:solidFill>
            <a:prstDash val="solid"/>
            <a:miter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11582400" cy="2425700"/>
          </a:xfrm>
        </p:spPr>
        <p:txBody>
          <a:bodyPr>
            <a:noAutofit/>
          </a:bodyPr>
          <a:lstStyle/>
          <a:p>
            <a:r>
              <a:rPr lang="en-GB" sz="2300" dirty="0">
                <a:solidFill>
                  <a:srgbClr val="FF0000"/>
                </a:solidFill>
              </a:rPr>
              <a:t>a)</a:t>
            </a:r>
            <a:r>
              <a:rPr lang="en-GB" sz="2300" dirty="0"/>
              <a:t> Most employer engagement </a:t>
            </a:r>
            <a:r>
              <a:rPr lang="en-GB" sz="2300" b="1" dirty="0"/>
              <a:t>wasn’t helpful</a:t>
            </a:r>
            <a:r>
              <a:rPr lang="en-GB" sz="2300" dirty="0"/>
              <a:t> in </a:t>
            </a:r>
            <a:r>
              <a:rPr lang="en-GB" sz="2300" u="sng" dirty="0">
                <a:solidFill>
                  <a:srgbClr val="0070C0"/>
                </a:solidFill>
              </a:rPr>
              <a:t>making decisions </a:t>
            </a:r>
            <a:r>
              <a:rPr lang="en-GB" sz="2300" dirty="0"/>
              <a:t>at age 16 </a:t>
            </a:r>
            <a:r>
              <a:rPr lang="en-GB" sz="2300" b="1" dirty="0"/>
              <a:t>unless </a:t>
            </a:r>
            <a:r>
              <a:rPr lang="en-GB" sz="2300" dirty="0"/>
              <a:t>teenagers recalled </a:t>
            </a:r>
            <a:r>
              <a:rPr lang="en-GB" sz="2300" b="1" dirty="0"/>
              <a:t>4+ activities</a:t>
            </a:r>
            <a:r>
              <a:rPr lang="en-GB" sz="2300" dirty="0"/>
              <a:t/>
            </a:r>
            <a:br>
              <a:rPr lang="en-GB" sz="2300" dirty="0"/>
            </a:br>
            <a:r>
              <a:rPr lang="en-GB" sz="2300" dirty="0"/>
              <a:t/>
            </a:r>
            <a:br>
              <a:rPr lang="en-GB" sz="2300" dirty="0"/>
            </a:br>
            <a:r>
              <a:rPr lang="en-GB" sz="2300" dirty="0">
                <a:solidFill>
                  <a:srgbClr val="FF0000"/>
                </a:solidFill>
              </a:rPr>
              <a:t>b)</a:t>
            </a:r>
            <a:r>
              <a:rPr lang="en-GB" sz="2300" dirty="0"/>
              <a:t> Most employer engagement </a:t>
            </a:r>
            <a:r>
              <a:rPr lang="en-GB" sz="2300" b="1" dirty="0"/>
              <a:t>wasn’t helpful </a:t>
            </a:r>
            <a:r>
              <a:rPr lang="en-GB" sz="2300" dirty="0"/>
              <a:t>in </a:t>
            </a:r>
            <a:r>
              <a:rPr lang="en-GB" sz="2300" u="sng" dirty="0">
                <a:solidFill>
                  <a:srgbClr val="0070C0"/>
                </a:solidFill>
              </a:rPr>
              <a:t>applying for university </a:t>
            </a:r>
            <a:r>
              <a:rPr lang="en-GB" sz="2300" b="1" dirty="0"/>
              <a:t>unless </a:t>
            </a:r>
            <a:r>
              <a:rPr lang="en-GB" sz="2300" dirty="0"/>
              <a:t>teenagers recalled </a:t>
            </a:r>
            <a:r>
              <a:rPr lang="en-GB" sz="2300" b="1" dirty="0"/>
              <a:t>4+ activities</a:t>
            </a:r>
            <a:br>
              <a:rPr lang="en-GB" sz="2300" b="1" dirty="0"/>
            </a:br>
            <a:r>
              <a:rPr lang="en-GB" sz="2300" b="1" dirty="0"/>
              <a:t/>
            </a:r>
            <a:br>
              <a:rPr lang="en-GB" sz="2300" b="1" dirty="0"/>
            </a:br>
            <a:r>
              <a:rPr lang="en-GB" sz="2300" dirty="0">
                <a:solidFill>
                  <a:srgbClr val="FF0000"/>
                </a:solidFill>
              </a:rPr>
              <a:t>c)</a:t>
            </a:r>
            <a:r>
              <a:rPr lang="en-GB" sz="2300" dirty="0"/>
              <a:t>Most employer engagement </a:t>
            </a:r>
            <a:r>
              <a:rPr lang="en-GB" sz="2300" b="1" dirty="0"/>
              <a:t>wasn’t helpful </a:t>
            </a:r>
            <a:r>
              <a:rPr lang="en-GB" sz="2300" dirty="0"/>
              <a:t>in </a:t>
            </a:r>
            <a:r>
              <a:rPr lang="en-GB" sz="2300" u="sng" dirty="0">
                <a:solidFill>
                  <a:srgbClr val="0070C0"/>
                </a:solidFill>
              </a:rPr>
              <a:t>applying for a full-time job</a:t>
            </a:r>
            <a:r>
              <a:rPr lang="en-GB" sz="2300" dirty="0"/>
              <a:t>, </a:t>
            </a:r>
            <a:r>
              <a:rPr lang="en-GB" sz="2300" b="1" dirty="0"/>
              <a:t>but </a:t>
            </a:r>
            <a:r>
              <a:rPr lang="en-GB" sz="2300" dirty="0"/>
              <a:t>participation in </a:t>
            </a:r>
            <a:r>
              <a:rPr lang="en-GB" sz="2300" b="1" dirty="0"/>
              <a:t>3+ activities made a big difference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27000" y="3124198"/>
          <a:ext cx="4038600" cy="337597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1620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35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1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Decision making at age 16 (e.g. whether to stay on, what and where to study, whether to try and get a job)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736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Fairly helpful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t very helpful /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t at all helpful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5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5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188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35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Four times or mor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9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4305299" y="2957985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4457698" y="3124196"/>
          <a:ext cx="3835400" cy="3375971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20645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9626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7455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272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solidFill>
                            <a:schemeClr val="tx1"/>
                          </a:solidFill>
                          <a:effectLst/>
                        </a:rPr>
                        <a:t>Applying for university 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951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7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287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7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4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our times or mor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3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48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8445494" y="2996081"/>
            <a:ext cx="12700" cy="3733800"/>
          </a:xfrm>
          <a:prstGeom prst="line">
            <a:avLst/>
          </a:prstGeom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8610589" y="3124194"/>
          <a:ext cx="3441712" cy="338867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18525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43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47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974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</a:rPr>
                        <a:t>Applying for a full-time job</a:t>
                      </a:r>
                      <a:endParaRPr lang="en-GB" sz="11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055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No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On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21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79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c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3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6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31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hree time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2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5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41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our times or mor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48%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52%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5162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27965"/>
            <a:ext cx="10515600" cy="1325563"/>
          </a:xfrm>
        </p:spPr>
        <p:txBody>
          <a:bodyPr>
            <a:normAutofit/>
          </a:bodyPr>
          <a:lstStyle/>
          <a:p>
            <a:r>
              <a:rPr lang="en-GB" sz="3800" dirty="0">
                <a:solidFill>
                  <a:srgbClr val="002060"/>
                </a:solidFill>
              </a:rPr>
              <a:t>If you found the activities helpful, tell us the reason…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6804577"/>
              </p:ext>
            </p:extLst>
          </p:nvPr>
        </p:nvGraphicFramePr>
        <p:xfrm>
          <a:off x="284796" y="1542099"/>
          <a:ext cx="4675824" cy="498811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8429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28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719805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 applying for university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write about in my UCAS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64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provided me with something to talk about at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0.3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the subject I wanted to stud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3.8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on the institution I wanted to study at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18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2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719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decide which subjects/options to choose while still at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9.5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motivated me to work as hard while in school/colleg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34.4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used someone I met as a refere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6.7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59902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65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5" name="Oval 4"/>
          <p:cNvSpPr/>
          <p:nvPr/>
        </p:nvSpPr>
        <p:spPr>
          <a:xfrm>
            <a:off x="4263390" y="230886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Oval 5"/>
          <p:cNvSpPr/>
          <p:nvPr/>
        </p:nvSpPr>
        <p:spPr>
          <a:xfrm>
            <a:off x="4263390" y="5193030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4263390" y="3363278"/>
            <a:ext cx="697230" cy="605790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6460228"/>
              </p:ext>
            </p:extLst>
          </p:nvPr>
        </p:nvGraphicFramePr>
        <p:xfrm>
          <a:off x="5737860" y="1542099"/>
          <a:ext cx="6252210" cy="512012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54406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15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 When</a:t>
                      </a:r>
                      <a:r>
                        <a:rPr lang="en-US" sz="1300" b="1" baseline="0" dirty="0">
                          <a:solidFill>
                            <a:schemeClr val="bg1"/>
                          </a:solidFill>
                          <a:effectLst/>
                        </a:rPr>
                        <a:t> applying for jobs…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b="1" dirty="0">
                          <a:solidFill>
                            <a:schemeClr val="bg1"/>
                          </a:solidFill>
                          <a:effectLst/>
                        </a:rPr>
                        <a:t>Valid Percent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with something to use in a job application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motivation to succeed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9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something to talk about at a job interview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7.5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gave me the confidence to apply for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learned how to produce a good CV or application	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49.1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practice my interview skills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9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8554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taught me what it is really like to work in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2.8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make better choices about what I studied whilst still in education/training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8.1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t helped me to understand what I needed to do to get a particular job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25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offered me a proper job (e.g., part-time job) which proved useful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12.7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a referen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4.4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met someone who gave me good advice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31.2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15458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I improved my soft skills / employability skills (</a:t>
                      </a:r>
                      <a:r>
                        <a:rPr lang="en-US" sz="1300" dirty="0" err="1">
                          <a:effectLst/>
                        </a:rPr>
                        <a:t>eg</a:t>
                      </a:r>
                      <a:r>
                        <a:rPr lang="en-US" sz="1300" dirty="0">
                          <a:effectLst/>
                        </a:rPr>
                        <a:t>, communicating, team working)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>
                          <a:effectLst/>
                        </a:rPr>
                        <a:t>44.6</a:t>
                      </a:r>
                      <a:endParaRPr lang="en-GB" sz="13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07729">
                <a:tc>
                  <a:txBody>
                    <a:bodyPr/>
                    <a:lstStyle/>
                    <a:p>
                      <a:pPr marL="90170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Total responded 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15000"/>
                        </a:lnSpc>
                      </a:pPr>
                      <a:r>
                        <a:rPr lang="en-US" sz="1300" dirty="0">
                          <a:effectLst/>
                        </a:rPr>
                        <a:t>240 </a:t>
                      </a:r>
                      <a:endParaRPr lang="en-GB" sz="1300" dirty="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cxnSp>
        <p:nvCxnSpPr>
          <p:cNvPr id="10" name="Shape 376"/>
          <p:cNvCxnSpPr/>
          <p:nvPr/>
        </p:nvCxnSpPr>
        <p:spPr>
          <a:xfrm>
            <a:off x="5342890" y="1542099"/>
            <a:ext cx="12700" cy="5273379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sp>
        <p:nvSpPr>
          <p:cNvPr id="12" name="Oval 11"/>
          <p:cNvSpPr/>
          <p:nvPr/>
        </p:nvSpPr>
        <p:spPr>
          <a:xfrm>
            <a:off x="11353800" y="3121105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11349990" y="1921550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Oval 13"/>
          <p:cNvSpPr/>
          <p:nvPr/>
        </p:nvSpPr>
        <p:spPr>
          <a:xfrm>
            <a:off x="11349990" y="5802273"/>
            <a:ext cx="571500" cy="484346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8196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6" name="Shape 376"/>
          <p:cNvCxnSpPr/>
          <p:nvPr/>
        </p:nvCxnSpPr>
        <p:spPr>
          <a:xfrm>
            <a:off x="6005430" y="1137336"/>
            <a:ext cx="6751" cy="5619118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402702"/>
              </p:ext>
            </p:extLst>
          </p:nvPr>
        </p:nvGraphicFramePr>
        <p:xfrm>
          <a:off x="301016" y="1137336"/>
          <a:ext cx="5368264" cy="5633154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46863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18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Given what you know now, would you have welcomed more help in any of the following areas while at school/college?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create a good CV, or write a good applica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perform well at interview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60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tax/benefit system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employers actually recruit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manage money once you had incom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he world of work is changing and which skills are likely to be demanded in futur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a job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find out what different jobs require in terms of skills, attitudes and qualification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job centres and employment agencies work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run your own enterprise/busines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How to get a part-time job whilst still at school or colleg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GB" sz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into Univers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to get an Apprenticeship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How common it is to do a job which people of your gender don’t normally do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7957900"/>
              </p:ext>
            </p:extLst>
          </p:nvPr>
        </p:nvGraphicFramePr>
        <p:xfrm>
          <a:off x="6342380" y="1097581"/>
          <a:ext cx="5608294" cy="562673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5577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97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76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157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49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8596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11597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6503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Femal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972" marR="62972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Non-selective State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Independent</a:t>
                      </a:r>
                      <a:endParaRPr lang="en-GB" sz="120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School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Free School Meal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Parent with no degre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Ethnic minority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White British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88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60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6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992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5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8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6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938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7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55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5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4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5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4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23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4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9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024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541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32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08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1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30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018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23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7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6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4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855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0" dirty="0">
                          <a:effectLst/>
                        </a:rPr>
                        <a:t>16%</a:t>
                      </a:r>
                      <a:endParaRPr lang="en-GB" sz="1200" b="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746" marR="8746" marT="8746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5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2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>
                          <a:effectLst/>
                        </a:rPr>
                        <a:t>23%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kern="1200" dirty="0">
                          <a:effectLst/>
                        </a:rPr>
                        <a:t>21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6" name="Oval 5"/>
          <p:cNvSpPr/>
          <p:nvPr/>
        </p:nvSpPr>
        <p:spPr>
          <a:xfrm>
            <a:off x="4939278" y="1649715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6844912" y="1708549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10076759" y="2026398"/>
            <a:ext cx="692150" cy="164192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itle 5"/>
          <p:cNvSpPr>
            <a:spLocks noGrp="1"/>
          </p:cNvSpPr>
          <p:nvPr>
            <p:ph type="title"/>
          </p:nvPr>
        </p:nvSpPr>
        <p:spPr>
          <a:xfrm>
            <a:off x="648473" y="0"/>
            <a:ext cx="10972800" cy="1097581"/>
          </a:xfrm>
        </p:spPr>
        <p:txBody>
          <a:bodyPr/>
          <a:lstStyle/>
          <a:p>
            <a:r>
              <a:rPr lang="en-GB" sz="2700" b="1" dirty="0"/>
              <a:t>Young adults’ perceptions on how schools and colleges could have better prepared them for the working world</a:t>
            </a:r>
          </a:p>
        </p:txBody>
      </p:sp>
    </p:spTree>
    <p:extLst>
      <p:ext uri="{BB962C8B-B14F-4D97-AF65-F5344CB8AC3E}">
        <p14:creationId xmlns:p14="http://schemas.microsoft.com/office/powerpoint/2010/main" val="29100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167257"/>
            <a:ext cx="10972800" cy="732629"/>
          </a:xfrm>
        </p:spPr>
        <p:txBody>
          <a:bodyPr/>
          <a:lstStyle/>
          <a:p>
            <a:r>
              <a:rPr lang="en-GB" sz="3000" b="1" dirty="0"/>
              <a:t>Young adults’ </a:t>
            </a:r>
            <a:r>
              <a:rPr lang="en-GB" sz="3000" b="1" dirty="0" smtClean="0"/>
              <a:t>career ambitions </a:t>
            </a:r>
            <a:endParaRPr lang="en-GB" sz="30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93485" y="899886"/>
            <a:ext cx="10972800" cy="1886857"/>
          </a:xfrm>
        </p:spPr>
        <p:txBody>
          <a:bodyPr/>
          <a:lstStyle/>
          <a:p>
            <a:pPr algn="l">
              <a:buNone/>
            </a:pPr>
            <a:endParaRPr lang="en-GB" sz="1900" b="1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b="1" dirty="0" smtClean="0"/>
              <a:t>More than half of </a:t>
            </a:r>
            <a:r>
              <a:rPr lang="en-GB" sz="1900" b="1" dirty="0"/>
              <a:t>young people </a:t>
            </a:r>
            <a:r>
              <a:rPr lang="en-GB" sz="1900" b="1" dirty="0" smtClean="0"/>
              <a:t>find it difficult to pursue their career ambitions in the current labour market</a:t>
            </a:r>
            <a:endParaRPr lang="en-GB" sz="1900" b="1" dirty="0"/>
          </a:p>
          <a:p>
            <a:pPr lvl="0">
              <a:buNone/>
            </a:pPr>
            <a:endParaRPr lang="en-GB" sz="1900" b="1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b="1" dirty="0" smtClean="0"/>
              <a:t>Young people with greater experiences of the world of work appear to find it easier to pursue their career ambitions (its all about volume)</a:t>
            </a:r>
            <a:endParaRPr lang="en-GB" sz="1900" b="1" dirty="0"/>
          </a:p>
          <a:p>
            <a:pPr lvl="0">
              <a:buNone/>
            </a:pPr>
            <a:endParaRPr lang="en-GB" sz="1900" b="1" dirty="0"/>
          </a:p>
          <a:p>
            <a:pPr lvl="0">
              <a:buNone/>
            </a:pPr>
            <a:endParaRPr lang="en-GB" sz="1900" b="1" dirty="0"/>
          </a:p>
          <a:p>
            <a:pPr lvl="0">
              <a:buNone/>
            </a:pPr>
            <a:endParaRPr lang="en-GB" sz="1900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999493"/>
              </p:ext>
            </p:extLst>
          </p:nvPr>
        </p:nvGraphicFramePr>
        <p:xfrm>
          <a:off x="493485" y="3004455"/>
          <a:ext cx="4731658" cy="3632357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216"/>
                <a:gridCol w="3754096"/>
                <a:gridCol w="949346"/>
              </a:tblGrid>
              <a:tr h="1614377">
                <a:tc gridSpan="2"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 dirty="0">
                          <a:solidFill>
                            <a:schemeClr val="bg1"/>
                          </a:solidFill>
                          <a:effectLst/>
                        </a:rPr>
                        <a:t>Thinking about what you have done since leaving school or college, how difficult/easy has it been for you to pursue your career ambitions?</a:t>
                      </a:r>
                      <a:endParaRPr lang="en-GB" sz="15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 dirty="0">
                          <a:solidFill>
                            <a:schemeClr val="bg1"/>
                          </a:solidFill>
                          <a:effectLst/>
                        </a:rPr>
                        <a:t>%</a:t>
                      </a:r>
                      <a:endParaRPr lang="en-GB" sz="15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</a:tr>
              <a:tr h="403596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Very difficult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 b="1" dirty="0">
                          <a:solidFill>
                            <a:srgbClr val="FF0000"/>
                          </a:solidFill>
                          <a:effectLst/>
                        </a:rPr>
                        <a:t>16.0%</a:t>
                      </a:r>
                      <a:endParaRPr lang="en-GB" sz="15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40359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Quite difficult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 b="1" dirty="0">
                          <a:solidFill>
                            <a:srgbClr val="FF0000"/>
                          </a:solidFill>
                          <a:effectLst/>
                        </a:rPr>
                        <a:t>40.0%</a:t>
                      </a:r>
                      <a:endParaRPr lang="en-GB" sz="15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40359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Fairly easy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28.1%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40359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Very easy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4.2%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  <a:tr h="403596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0170">
                        <a:lnSpc>
                          <a:spcPct val="107000"/>
                        </a:lnSpc>
                      </a:pPr>
                      <a:r>
                        <a:rPr lang="en-GB" sz="1500">
                          <a:solidFill>
                            <a:schemeClr val="bg1"/>
                          </a:solidFill>
                          <a:effectLst/>
                        </a:rPr>
                        <a:t>I don’t have career ambitions</a:t>
                      </a:r>
                      <a:endParaRPr lang="en-GB" sz="15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90170" algn="ctr">
                        <a:lnSpc>
                          <a:spcPct val="107000"/>
                        </a:lnSpc>
                      </a:pPr>
                      <a:r>
                        <a:rPr lang="en-GB" sz="1500" b="1" dirty="0">
                          <a:solidFill>
                            <a:srgbClr val="FF0000"/>
                          </a:solidFill>
                          <a:effectLst/>
                        </a:rPr>
                        <a:t>11.8%</a:t>
                      </a:r>
                      <a:endParaRPr lang="en-GB" sz="15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2145282"/>
              </p:ext>
            </p:extLst>
          </p:nvPr>
        </p:nvGraphicFramePr>
        <p:xfrm>
          <a:off x="5379795" y="2989940"/>
          <a:ext cx="5636549" cy="364687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8920"/>
                <a:gridCol w="1652084"/>
                <a:gridCol w="1229107"/>
                <a:gridCol w="1098966"/>
                <a:gridCol w="1627472"/>
              </a:tblGrid>
              <a:tr h="889953">
                <a:tc rowSpan="2"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r>
                        <a:rPr lang="en-GB" sz="1400" dirty="0" smtClean="0">
                          <a:solidFill>
                            <a:schemeClr val="bg1"/>
                          </a:solidFill>
                          <a:effectLst/>
                        </a:rPr>
                        <a:t>P-value: 0.00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Thinking about what you have done since leaving school or college, how difficult/easy has it been for you to pursue your career ambitions?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660556">
                <a:tc gridSpan="2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Very-quite difficult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Fairly-very</a:t>
                      </a:r>
                    </a:p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easy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I don’t have career ambitions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0277">
                <a:tc rowSpan="5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Never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>
                          <a:solidFill>
                            <a:srgbClr val="FF0000"/>
                          </a:solidFill>
                          <a:effectLst/>
                        </a:rPr>
                        <a:t>60.2%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23.1%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16.8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027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Once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59.3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28.4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12.2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027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Twice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55.8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34.8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9.4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027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Three times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47.4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42.1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10.5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44497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Four or more times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46.3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>
                          <a:solidFill>
                            <a:schemeClr val="bg1"/>
                          </a:solidFill>
                          <a:effectLst/>
                        </a:rPr>
                        <a:t>45.4%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>
                          <a:solidFill>
                            <a:schemeClr val="bg1"/>
                          </a:solidFill>
                          <a:effectLst/>
                        </a:rPr>
                        <a:t>8.4%</a:t>
                      </a:r>
                      <a:endParaRPr lang="en-GB" sz="140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  <a:tr h="330277">
                <a:tc gridSpan="2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1"/>
                          </a:solidFill>
                          <a:effectLst/>
                        </a:rPr>
                        <a:t>Average 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dirty="0" smtClean="0">
                          <a:solidFill>
                            <a:schemeClr val="bg1"/>
                          </a:solidFill>
                          <a:effectLst/>
                        </a:rPr>
                        <a:t>1.49</a:t>
                      </a:r>
                      <a:endParaRPr lang="en-GB" sz="14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rgbClr val="FF0000"/>
                          </a:solidFill>
                          <a:effectLst/>
                        </a:rPr>
                        <a:t>1.89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400" b="1" dirty="0" smtClean="0">
                          <a:solidFill>
                            <a:srgbClr val="FF0000"/>
                          </a:solidFill>
                          <a:effectLst/>
                        </a:rPr>
                        <a:t>1.33</a:t>
                      </a:r>
                      <a:endParaRPr lang="en-GB" sz="1400" b="1" dirty="0">
                        <a:solidFill>
                          <a:srgbClr val="FF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9351695" y="335340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916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What schools and colleges did to help young adults succeed in the adult working worl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14550"/>
            <a:ext cx="11106150" cy="4423410"/>
          </a:xfrm>
        </p:spPr>
        <p:txBody>
          <a:bodyPr/>
          <a:lstStyle/>
          <a:p>
            <a:pPr algn="l">
              <a:buNone/>
            </a:pPr>
            <a:r>
              <a:rPr lang="en-GB" sz="1600" b="1" dirty="0"/>
              <a:t>Key findings: </a:t>
            </a:r>
          </a:p>
          <a:p>
            <a:pPr algn="l"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Higher volumes of school-mediated employer engagement are associated with reduced incidence of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Undertaking individual employer engagement activities is associated with reduced incidence of being NEET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Pre-16 participation in Job shadowing is associated with an adult wage premium of 11%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who found their school-mediated employer engagement activities ‘helpful in getting a job’, earned up to 16.4% more than peers who did not take part in any activities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Young adults experienced wage premiums linked to individual activities when undertaken within school(s) which they felt had prepared them well for adult life </a:t>
            </a:r>
          </a:p>
          <a:p>
            <a:pPr>
              <a:buNone/>
            </a:pPr>
            <a:endParaRPr lang="en-GB" sz="1600" dirty="0"/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GB" sz="1600" dirty="0"/>
              <a:t>Wage premiums of up to £3,500 can be identified linked to teenage participation in school-mediated employer engagement activities</a:t>
            </a:r>
          </a:p>
          <a:p>
            <a:pPr algn="l">
              <a:buNone/>
            </a:pP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2455787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Shape 386"/>
          <p:cNvSpPr txBox="1">
            <a:spLocks noGrp="1"/>
          </p:cNvSpPr>
          <p:nvPr>
            <p:ph type="title"/>
          </p:nvPr>
        </p:nvSpPr>
        <p:spPr>
          <a:xfrm>
            <a:off x="584200" y="482600"/>
            <a:ext cx="10490100" cy="11175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en-GB" sz="27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ng adults experienced wage premiums linked to individual activities where they felt their school(s) had prepared them well for adult life </a:t>
            </a:r>
          </a:p>
        </p:txBody>
      </p:sp>
      <p:pic>
        <p:nvPicPr>
          <p:cNvPr id="387" name="Shape 38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515599" y="79180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88" name="Shape 388"/>
          <p:cNvGraphicFramePr/>
          <p:nvPr>
            <p:extLst>
              <p:ext uri="{D42A27DB-BD31-4B8C-83A1-F6EECF244321}">
                <p14:modId xmlns:p14="http://schemas.microsoft.com/office/powerpoint/2010/main" val="2753289972"/>
              </p:ext>
            </p:extLst>
          </p:nvPr>
        </p:nvGraphicFramePr>
        <p:xfrm>
          <a:off x="856342" y="1741712"/>
          <a:ext cx="10479315" cy="4673601"/>
        </p:xfrm>
        <a:graphic>
          <a:graphicData uri="http://schemas.openxmlformats.org/drawingml/2006/table">
            <a:tbl>
              <a:tblPr>
                <a:noFill/>
                <a:tableStyleId>{C68ABAD3-AA38-4938-9A59-5979D318BD6F}</a:tableStyleId>
              </a:tblPr>
              <a:tblGrid>
                <a:gridCol w="62531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431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829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93742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i="1" dirty="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mployer engagement activity</a:t>
                      </a:r>
                    </a:p>
                  </a:txBody>
                  <a:tcPr marL="68575" marR="68575" marT="0" marB="0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percentage terms)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dirty="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remium (expressed in cash terms</a:t>
                      </a:r>
                      <a:r>
                        <a:rPr lang="en-GB" sz="1600" b="1" dirty="0" smtClean="0">
                          <a:solidFill>
                            <a:schemeClr val="l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)*</a:t>
                      </a:r>
                      <a:endParaRPr lang="en-GB" sz="1600" b="1" dirty="0">
                        <a:solidFill>
                          <a:schemeClr val="l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4622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a job – </a:t>
                      </a:r>
                      <a:r>
                        <a:rPr lang="en-GB" sz="1600" i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4.1</a:t>
                      </a:r>
                      <a:r>
                        <a:rPr lang="en-GB" sz="1600" dirty="0" smtClean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% per activity</a:t>
                      </a:r>
                      <a:endParaRPr lang="en-GB"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648</a:t>
                      </a: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5754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olume of engagements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where engagement in general found to be useful in getting into university – </a:t>
                      </a:r>
                      <a:r>
                        <a:rPr lang="en-GB" sz="1600" i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engagement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5.5</a:t>
                      </a:r>
                      <a:r>
                        <a:rPr lang="en-GB" sz="1600" dirty="0" smtClean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% per activity</a:t>
                      </a:r>
                      <a:endParaRPr lang="en-GB"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869</a:t>
                      </a: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7558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lang="en-GB"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chemeClr val="bg1">
                          <a:lumMod val="6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lang="en-GB"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chemeClr val="bg1">
                          <a:lumMod val="6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endParaRPr lang="en-GB" sz="1600" dirty="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chemeClr val="bg1">
                          <a:lumMod val="6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</a:tr>
              <a:tr h="64622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terprise competition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4622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</a:t>
                      </a: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9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3,004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69876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Job Shadowing</a:t>
                      </a: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at 14-1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1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1,739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64622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b="1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entoring </a:t>
                      </a: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t 16-18 where respondent felt school had prepared them well for adult working life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18%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SzPct val="25000"/>
                        <a:buNone/>
                      </a:pPr>
                      <a:r>
                        <a:rPr lang="en-GB" sz="1600" dirty="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£2,846</a:t>
                      </a: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904380" y="261677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04380" y="6604000"/>
            <a:ext cx="91975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* Based on the average salary reported by our sample </a:t>
            </a:r>
            <a:endParaRPr lang="en-GB" sz="12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66744" y="645014"/>
            <a:ext cx="10515600" cy="1325562"/>
          </a:xfrm>
        </p:spPr>
        <p:txBody>
          <a:bodyPr>
            <a:normAutofit/>
          </a:bodyPr>
          <a:lstStyle/>
          <a:p>
            <a:pPr algn="ctr"/>
            <a:r>
              <a:rPr lang="en-GB" sz="3200" b="1" dirty="0"/>
              <a:t>Higher volumes of school-mediated employer engagement are associated with </a:t>
            </a:r>
            <a:r>
              <a:rPr lang="en-GB" sz="3200" b="1" dirty="0">
                <a:solidFill>
                  <a:srgbClr val="0070C0"/>
                </a:solidFill>
              </a:rPr>
              <a:t>reduced incidence of NEET</a:t>
            </a:r>
            <a:endParaRPr lang="en-GB" sz="2900" b="1" dirty="0">
              <a:solidFill>
                <a:srgbClr val="0070C0"/>
              </a:solidFill>
              <a:latin typeface="+mn-lt"/>
            </a:endParaRPr>
          </a:p>
        </p:txBody>
      </p:sp>
      <p:cxnSp>
        <p:nvCxnSpPr>
          <p:cNvPr id="7" name="Horizontal Line"/>
          <p:cNvCxnSpPr/>
          <p:nvPr>
            <p:custDataLst>
              <p:tags r:id="rId2"/>
            </p:custDataLst>
          </p:nvPr>
        </p:nvCxnSpPr>
        <p:spPr>
          <a:xfrm>
            <a:off x="1471414" y="2610719"/>
            <a:ext cx="2899386" cy="1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stLeanHorizontalTextTopic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471414" y="2310905"/>
            <a:ext cx="2863642" cy="243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70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Control variables </a:t>
            </a:r>
          </a:p>
        </p:txBody>
      </p:sp>
      <p:sp>
        <p:nvSpPr>
          <p:cNvPr id="9" name="ListLeanHorizontalTextDetail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71414" y="2723429"/>
            <a:ext cx="2863642" cy="280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74625" indent="-174625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Age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Highest qualification (L1-L5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Ethnicity (white </a:t>
            </a:r>
            <a:r>
              <a:rPr lang="en-GB" sz="1700" b="0" kern="1200" dirty="0" err="1">
                <a:solidFill>
                  <a:prstClr val="black"/>
                </a:solidFill>
                <a:latin typeface="Calibri Light" panose="020F0302020204030204"/>
                <a:ea typeface="+mn-ea"/>
              </a:rPr>
              <a:t>vs</a:t>
            </a: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 non-white)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Region of UK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4-16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School type 16-19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Gender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Parental education </a:t>
            </a:r>
          </a:p>
          <a:p>
            <a:pPr lvl="1" eaLnBrk="1" hangingPunct="1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</a:pPr>
            <a:r>
              <a:rPr lang="en-GB" sz="1700" b="0" kern="1200" dirty="0">
                <a:solidFill>
                  <a:prstClr val="black"/>
                </a:solidFill>
                <a:latin typeface="Calibri Light" panose="020F0302020204030204"/>
                <a:ea typeface="+mn-ea"/>
              </a:rPr>
              <a:t>Free School Meal 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4714696" y="2346167"/>
            <a:ext cx="301804" cy="3565598"/>
            <a:chOff x="6881585" y="2561771"/>
            <a:chExt cx="155575" cy="3436261"/>
          </a:xfrm>
        </p:grpSpPr>
        <p:cxnSp>
          <p:nvCxnSpPr>
            <p:cNvPr id="42" name="VLine"/>
            <p:cNvCxnSpPr/>
            <p:nvPr/>
          </p:nvCxnSpPr>
          <p:spPr>
            <a:xfrm>
              <a:off x="6940059" y="2561771"/>
              <a:ext cx="0" cy="3436261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</p:cxnSp>
        <p:sp>
          <p:nvSpPr>
            <p:cNvPr id="43" name="IsoclesTriangle"/>
            <p:cNvSpPr/>
            <p:nvPr/>
          </p:nvSpPr>
          <p:spPr>
            <a:xfrm rot="5400000">
              <a:off x="6778398" y="4202114"/>
              <a:ext cx="361950" cy="155575"/>
            </a:xfrm>
            <a:prstGeom prst="triangle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72000" bIns="0" rtlCol="0" anchor="ctr"/>
            <a:lstStyle/>
            <a:p>
              <a:pPr algn="ctr">
                <a:lnSpc>
                  <a:spcPct val="93000"/>
                </a:lnSpc>
                <a:spcBef>
                  <a:spcPts val="300"/>
                </a:spcBef>
              </a:pPr>
              <a:endParaRPr lang="en-GB" sz="1300" kern="12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pic>
        <p:nvPicPr>
          <p:cNvPr id="53" name="Picture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sp>
        <p:nvSpPr>
          <p:cNvPr id="54" name="Rectangle 53"/>
          <p:cNvSpPr/>
          <p:nvPr/>
        </p:nvSpPr>
        <p:spPr>
          <a:xfrm>
            <a:off x="1373425" y="5911765"/>
            <a:ext cx="1879041" cy="3213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lnSpc>
                <a:spcPct val="93000"/>
              </a:lnSpc>
              <a:spcBef>
                <a:spcPts val="300"/>
              </a:spcBef>
              <a:buClr>
                <a:prstClr val="black"/>
              </a:buClr>
              <a:buSzPct val="100000"/>
            </a:pPr>
            <a:r>
              <a:rPr lang="en-GB" sz="16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  </a:t>
            </a:r>
            <a:r>
              <a:rPr lang="en-GB" sz="1600" u="sng" kern="1200" dirty="0">
                <a:solidFill>
                  <a:srgbClr val="44546A"/>
                </a:solidFill>
                <a:latin typeface="Calibri" panose="020F0502020204030204"/>
                <a:ea typeface="+mn-ea"/>
                <a:cs typeface="+mn-cs"/>
                <a:sym typeface="Wingdings" pitchFamily="2" charset="2"/>
              </a:rPr>
              <a:t>1,536 individuals</a:t>
            </a:r>
            <a:endParaRPr lang="en-GB" sz="1600" u="sng" kern="1200" dirty="0">
              <a:solidFill>
                <a:srgbClr val="44546A"/>
              </a:solidFill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/>
          </p:nvPr>
        </p:nvGraphicFramePr>
        <p:xfrm>
          <a:off x="5334000" y="2429627"/>
          <a:ext cx="5918200" cy="3352801"/>
        </p:xfrm>
        <a:graphic>
          <a:graphicData uri="http://schemas.openxmlformats.org/drawingml/2006/table">
            <a:tbl>
              <a:tblPr>
                <a:tableStyleId>{793D81CF-94F2-401A-BA57-92F5A7B2D0C5}</a:tableStyleId>
              </a:tblPr>
              <a:tblGrid>
                <a:gridCol w="254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11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759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0000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921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813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95911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      Correct: 92.7%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B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.E.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P-value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Odds of becoming NEET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9978">
                <a:tc rowSpan="4"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One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.57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251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22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44%</a:t>
                      </a:r>
                      <a:r>
                        <a:rPr lang="en-GB" sz="1200" dirty="0">
                          <a:effectLst/>
                        </a:rPr>
                        <a:t> less likely comparing to those who did zero activity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wo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.79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301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9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56%</a:t>
                      </a:r>
                      <a:r>
                        <a:rPr lang="en-GB" sz="1200" dirty="0">
                          <a:effectLst/>
                        </a:rPr>
                        <a:t> less</a:t>
                      </a:r>
                      <a:r>
                        <a:rPr lang="en-GB" sz="1200" baseline="0" dirty="0">
                          <a:effectLst/>
                        </a:rPr>
                        <a:t> likely comparing to those who did zero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Three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-1.879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.650</a:t>
                      </a:r>
                      <a:endParaRPr lang="en-GB" sz="120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4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5%</a:t>
                      </a:r>
                      <a:r>
                        <a:rPr lang="en-GB" sz="1200" dirty="0">
                          <a:effectLst/>
                        </a:rPr>
                        <a:t> less likely comparing</a:t>
                      </a:r>
                      <a:r>
                        <a:rPr lang="en-GB" sz="1200" baseline="0" dirty="0">
                          <a:effectLst/>
                        </a:rPr>
                        <a:t>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456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8100" marR="38100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Four</a:t>
                      </a:r>
                      <a:r>
                        <a:rPr lang="en-GB" sz="1200" baseline="0" dirty="0">
                          <a:effectLst/>
                        </a:rPr>
                        <a:t> or more 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-1.907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.554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.001</a:t>
                      </a:r>
                      <a:endParaRPr lang="en-GB" sz="12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8100" marR="38100" algn="ctr">
                        <a:lnSpc>
                          <a:spcPts val="1600"/>
                        </a:lnSpc>
                        <a:spcAft>
                          <a:spcPts val="0"/>
                        </a:spcAft>
                      </a:pPr>
                      <a:r>
                        <a:rPr lang="en-GB" sz="1200" b="1" dirty="0">
                          <a:effectLst/>
                        </a:rPr>
                        <a:t>86%</a:t>
                      </a:r>
                      <a:r>
                        <a:rPr lang="en-GB" sz="1200" dirty="0">
                          <a:effectLst/>
                        </a:rPr>
                        <a:t> less likely comparing to those who did zero</a:t>
                      </a:r>
                      <a:endParaRPr lang="en-GB" sz="12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904380" y="261677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66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199" y="651070"/>
            <a:ext cx="10515600" cy="1106488"/>
          </a:xfrm>
        </p:spPr>
        <p:txBody>
          <a:bodyPr>
            <a:normAutofit/>
          </a:bodyPr>
          <a:lstStyle/>
          <a:p>
            <a:pPr algn="ctr"/>
            <a:r>
              <a:rPr lang="en-GB" sz="3000" b="1" dirty="0"/>
              <a:t>Undertaking individual employer engagement activities is associated with </a:t>
            </a:r>
            <a:r>
              <a:rPr lang="en-GB" sz="3000" b="1" dirty="0">
                <a:solidFill>
                  <a:srgbClr val="0070C0"/>
                </a:solidFill>
              </a:rPr>
              <a:t>reduced incidence of being </a:t>
            </a:r>
            <a:r>
              <a:rPr lang="en-GB" sz="3000" b="1" dirty="0" smtClean="0">
                <a:solidFill>
                  <a:srgbClr val="0070C0"/>
                </a:solidFill>
              </a:rPr>
              <a:t>NEET*</a:t>
            </a:r>
            <a:endParaRPr lang="en-GB" sz="3000" b="1" dirty="0">
              <a:solidFill>
                <a:srgbClr val="0070C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15599" y="79180"/>
            <a:ext cx="1676400" cy="57189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878410"/>
              </p:ext>
            </p:extLst>
          </p:nvPr>
        </p:nvGraphicFramePr>
        <p:xfrm>
          <a:off x="1678031" y="1898561"/>
          <a:ext cx="9182100" cy="4259778"/>
        </p:xfrm>
        <a:graphic>
          <a:graphicData uri="http://schemas.openxmlformats.org/drawingml/2006/table">
            <a:tbl>
              <a:tblPr firstRow="1" firstCol="1" bandRow="1"/>
              <a:tblGrid>
                <a:gridCol w="23297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85234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5416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b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4-16…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1% less likely to be NEET than peers who did not do the activity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501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2909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</a:t>
                      </a:r>
                      <a:r>
                        <a:rPr lang="en-GB" sz="17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xperience</a:t>
                      </a:r>
                      <a:endParaRPr lang="en-GB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5% less likely to be NEET than peers who did not do the activit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416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b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t 16-19…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GB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reer talks with employers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8% less likely to be NEET than peers who did not do the activity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5392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terprise competition with employer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0% less likely to be NEET than peers who did not do the activity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910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ork experience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7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4% less likely to be NEET than peers who did not do the activity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904380" y="261677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78031" y="6299342"/>
            <a:ext cx="9376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i="1" dirty="0" smtClean="0"/>
              <a:t>* We asked the respondents about their economic activity on the day of the questionnaire</a:t>
            </a:r>
            <a:endParaRPr lang="en-GB" sz="1200" i="1" dirty="0"/>
          </a:p>
        </p:txBody>
      </p:sp>
    </p:spTree>
    <p:extLst>
      <p:ext uri="{BB962C8B-B14F-4D97-AF65-F5344CB8AC3E}">
        <p14:creationId xmlns:p14="http://schemas.microsoft.com/office/powerpoint/2010/main" val="169436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72" r="12223"/>
          <a:stretch/>
        </p:blipFill>
        <p:spPr>
          <a:xfrm>
            <a:off x="5159188" y="1"/>
            <a:ext cx="7032811" cy="6858000"/>
          </a:xfrm>
          <a:prstGeom prst="rect">
            <a:avLst/>
          </a:prstGeom>
        </p:spPr>
      </p:pic>
      <p:sp>
        <p:nvSpPr>
          <p:cNvPr id="7" name="Shape 111"/>
          <p:cNvSpPr/>
          <p:nvPr/>
        </p:nvSpPr>
        <p:spPr>
          <a:xfrm>
            <a:off x="1" y="0"/>
            <a:ext cx="5159188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50000"/>
            </a:scheme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4823" y="1362421"/>
            <a:ext cx="5114365" cy="531415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ntity matters</a:t>
            </a:r>
            <a:r>
              <a:rPr lang="en-GB" sz="1900" b="1" dirty="0"/>
              <a:t>: </a:t>
            </a:r>
            <a:r>
              <a:rPr lang="en-GB" sz="1900" dirty="0"/>
              <a:t>greater volume of school-mediat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Quality matters</a:t>
            </a:r>
            <a:r>
              <a:rPr lang="en-GB" sz="1900" b="1" dirty="0"/>
              <a:t>:  </a:t>
            </a:r>
            <a:r>
              <a:rPr lang="en-GB" sz="1900" dirty="0"/>
              <a:t>more highly regarded employer engagement is associated with better economic outcomes</a:t>
            </a:r>
          </a:p>
          <a:p>
            <a:pPr>
              <a:lnSpc>
                <a:spcPct val="150000"/>
              </a:lnSpc>
              <a:buNone/>
            </a:pPr>
            <a:endParaRPr lang="en-GB" sz="1900" dirty="0"/>
          </a:p>
          <a:p>
            <a:pPr marL="342900" indent="-342900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GB" sz="1900" b="1" u="sng" dirty="0"/>
              <a:t>Equity matters</a:t>
            </a:r>
            <a:r>
              <a:rPr lang="en-GB" sz="1900" b="1" dirty="0"/>
              <a:t>: </a:t>
            </a:r>
            <a:r>
              <a:rPr lang="en-GB" sz="1900" dirty="0"/>
              <a:t>access to school-mediated employer engagement is not fairly distributed</a:t>
            </a:r>
          </a:p>
          <a:p>
            <a:pPr marL="342900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GB" sz="1900" b="1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2706" y="184679"/>
            <a:ext cx="4776481" cy="996313"/>
          </a:xfrm>
        </p:spPr>
        <p:txBody>
          <a:bodyPr/>
          <a:lstStyle/>
          <a:p>
            <a:r>
              <a:rPr lang="en-GB" sz="2800" b="1" dirty="0"/>
              <a:t>Implications for policy and practice</a:t>
            </a:r>
          </a:p>
        </p:txBody>
      </p:sp>
    </p:spTree>
    <p:extLst>
      <p:ext uri="{BB962C8B-B14F-4D97-AF65-F5344CB8AC3E}">
        <p14:creationId xmlns:p14="http://schemas.microsoft.com/office/powerpoint/2010/main" val="2705373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/>
          <p:nvPr/>
        </p:nvSpPr>
        <p:spPr>
          <a:xfrm>
            <a:off x="0" y="0"/>
            <a:ext cx="8470900" cy="6858000"/>
          </a:xfrm>
          <a:prstGeom prst="rect">
            <a:avLst/>
          </a:prstGeom>
          <a:solidFill>
            <a:srgbClr val="000000">
              <a:alpha val="82000"/>
            </a:srgbClr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endParaRPr>
              <a:ea typeface="+mn-ea"/>
            </a:endParaRPr>
          </a:p>
        </p:txBody>
      </p:sp>
      <p:sp>
        <p:nvSpPr>
          <p:cNvPr id="112" name="Shape 112"/>
          <p:cNvSpPr txBox="1">
            <a:spLocks noGrp="1"/>
          </p:cNvSpPr>
          <p:nvPr>
            <p:ph type="title"/>
          </p:nvPr>
        </p:nvSpPr>
        <p:spPr>
          <a:xfrm>
            <a:off x="266701" y="689776"/>
            <a:ext cx="5537200" cy="727799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r>
              <a:rPr lang="en-GB" b="1" dirty="0"/>
              <a:t>In the past…</a:t>
            </a:r>
            <a:endParaRPr lang="en" dirty="0"/>
          </a:p>
        </p:txBody>
      </p:sp>
      <p:sp>
        <p:nvSpPr>
          <p:cNvPr id="113" name="Shape 113"/>
          <p:cNvSpPr txBox="1">
            <a:spLocks noGrp="1"/>
          </p:cNvSpPr>
          <p:nvPr>
            <p:ph type="body" idx="1"/>
          </p:nvPr>
        </p:nvSpPr>
        <p:spPr>
          <a:xfrm>
            <a:off x="193338" y="1651001"/>
            <a:ext cx="8188662" cy="496775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>
              <a:buNone/>
            </a:pPr>
            <a:r>
              <a:rPr lang="en-GB" sz="2400" dirty="0"/>
              <a:t>Mann, A.&amp; Percy, C. “Employer engagement in British secondary education: wage earning outcomes experienced by young adults.” Journal of Education and Work 27:5, 496-523</a:t>
            </a:r>
            <a:br>
              <a:rPr lang="en-GB" sz="2400" dirty="0"/>
            </a:br>
            <a:r>
              <a:rPr lang="en-GB" sz="2400" dirty="0"/>
              <a:t> </a:t>
            </a:r>
          </a:p>
          <a:p>
            <a:pPr>
              <a:buNone/>
            </a:pPr>
            <a:endParaRPr lang="en-GB" sz="2400" dirty="0"/>
          </a:p>
          <a:p>
            <a:pPr>
              <a:buNone/>
            </a:pPr>
            <a:r>
              <a:rPr lang="en-GB" sz="2400" dirty="0"/>
              <a:t>Percy, C. &amp; A. Mann. 2014. “School-mediated employer engagement and labour market outcomes for young adults: wage </a:t>
            </a:r>
            <a:r>
              <a:rPr lang="en-GB" sz="2400" dirty="0" err="1"/>
              <a:t>premia</a:t>
            </a:r>
            <a:r>
              <a:rPr lang="en-GB" sz="2400" dirty="0"/>
              <a:t>, NEET outcomes and career confidence.” In Mann. A. et al. </a:t>
            </a:r>
            <a:r>
              <a:rPr lang="en-GB" sz="2400" i="1" dirty="0"/>
              <a:t>Understanding Employer Engagement in Education: Theories and Evidence</a:t>
            </a:r>
            <a:r>
              <a:rPr lang="en-GB" sz="2400" dirty="0"/>
              <a:t>. London: Routledge</a:t>
            </a:r>
            <a:r>
              <a:rPr lang="en-GB" sz="1800" dirty="0"/>
              <a:t/>
            </a:r>
            <a:br>
              <a:rPr lang="en-GB" sz="1800" dirty="0"/>
            </a:br>
            <a:endParaRPr lang="en" sz="2400" dirty="0"/>
          </a:p>
        </p:txBody>
      </p:sp>
    </p:spTree>
    <p:extLst>
      <p:ext uri="{BB962C8B-B14F-4D97-AF65-F5344CB8AC3E}">
        <p14:creationId xmlns:p14="http://schemas.microsoft.com/office/powerpoint/2010/main" val="2595412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41569" y="2214969"/>
            <a:ext cx="4825517" cy="703427"/>
          </a:xfrm>
        </p:spPr>
        <p:txBody>
          <a:bodyPr/>
          <a:lstStyle/>
          <a:p>
            <a:r>
              <a:rPr lang="en-GB" sz="35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hank you for your </a:t>
            </a:r>
            <a:r>
              <a:rPr lang="en-GB" sz="3500" b="1" dirty="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ime </a:t>
            </a:r>
            <a:endParaRPr lang="en-GB" sz="3500" dirty="0"/>
          </a:p>
        </p:txBody>
      </p:sp>
      <p:pic>
        <p:nvPicPr>
          <p:cNvPr id="7" name="Shape 4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0747" y="982267"/>
            <a:ext cx="2920200" cy="9963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hape 205"/>
          <p:cNvSpPr txBox="1"/>
          <p:nvPr/>
        </p:nvSpPr>
        <p:spPr>
          <a:xfrm>
            <a:off x="450747" y="4390599"/>
            <a:ext cx="7673362" cy="9531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sz="2300" dirty="0">
              <a:solidFill>
                <a:schemeClr val="bg1"/>
              </a:solidFill>
            </a:endParaRPr>
          </a:p>
          <a:p>
            <a:pPr lvl="0">
              <a:spcBef>
                <a:spcPts val="0"/>
              </a:spcBef>
              <a:buNone/>
            </a:pPr>
            <a:r>
              <a:rPr lang="en-GB" sz="2300" b="1" dirty="0">
                <a:solidFill>
                  <a:srgbClr val="00B0F0"/>
                </a:solidFill>
              </a:rPr>
              <a:t>@</a:t>
            </a:r>
            <a:r>
              <a:rPr lang="en-GB" sz="2300" b="1" dirty="0" err="1" smtClean="0">
                <a:solidFill>
                  <a:srgbClr val="00B0F0"/>
                </a:solidFill>
              </a:rPr>
              <a:t>Edu_EResearch</a:t>
            </a:r>
            <a:endParaRPr lang="en-GB" sz="2300" b="1" dirty="0" smtClean="0">
              <a:solidFill>
                <a:srgbClr val="00B0F0"/>
              </a:solidFill>
            </a:endParaRPr>
          </a:p>
          <a:p>
            <a:pPr lvl="0">
              <a:spcBef>
                <a:spcPts val="0"/>
              </a:spcBef>
              <a:buNone/>
            </a:pPr>
            <a:endParaRPr lang="en-GB" sz="2300" b="1" dirty="0">
              <a:solidFill>
                <a:schemeClr val="bg1"/>
              </a:solidFill>
            </a:endParaRPr>
          </a:p>
          <a:p>
            <a:pPr lvl="0"/>
            <a:r>
              <a:rPr lang="en-GB" sz="2300" b="1" dirty="0">
                <a:solidFill>
                  <a:schemeClr val="bg1"/>
                </a:solidFill>
                <a:hlinkClick r:id="rId3"/>
              </a:rPr>
              <a:t>http://www.educationandemployers.org/research-type/taskforce-publications</a:t>
            </a:r>
            <a:r>
              <a:rPr lang="en-GB" sz="2300" b="1" dirty="0" smtClean="0">
                <a:solidFill>
                  <a:schemeClr val="bg1"/>
                </a:solidFill>
                <a:hlinkClick r:id="rId3"/>
              </a:rPr>
              <a:t>/</a:t>
            </a:r>
            <a:endParaRPr lang="en-GB" sz="2300" b="1" dirty="0" smtClean="0">
              <a:solidFill>
                <a:schemeClr val="bg1"/>
              </a:solidFill>
            </a:endParaRPr>
          </a:p>
          <a:p>
            <a:pPr lvl="0"/>
            <a:endParaRPr lang="en-GB" sz="2300" b="1" dirty="0">
              <a:solidFill>
                <a:schemeClr val="bg1"/>
              </a:solidFill>
            </a:endParaRPr>
          </a:p>
        </p:txBody>
      </p:sp>
      <p:sp>
        <p:nvSpPr>
          <p:cNvPr id="10" name="Shape 203"/>
          <p:cNvSpPr txBox="1">
            <a:spLocks/>
          </p:cNvSpPr>
          <p:nvPr/>
        </p:nvSpPr>
        <p:spPr>
          <a:xfrm>
            <a:off x="341569" y="3154798"/>
            <a:ext cx="6831930" cy="141732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Char char="◎"/>
              <a:defRPr sz="2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24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Raleway"/>
              <a:buNone/>
              <a:defRPr sz="1800" b="0" i="0" u="none" strike="noStrike" cap="none">
                <a:solidFill>
                  <a:srgbClr val="FFFFFF"/>
                </a:solidFill>
                <a:latin typeface="Raleway"/>
                <a:ea typeface="Raleway"/>
                <a:cs typeface="Raleway"/>
                <a:sym typeface="Raleway"/>
              </a:defRPr>
            </a:lvl9pPr>
          </a:lstStyle>
          <a:p>
            <a:pPr>
              <a:buFont typeface="Raleway"/>
              <a:buNone/>
            </a:pPr>
            <a:r>
              <a:rPr lang="en-GB" sz="2300" dirty="0">
                <a:solidFill>
                  <a:schemeClr val="bg1"/>
                </a:solidFill>
              </a:rPr>
              <a:t>Dr Elnaz T. </a:t>
            </a:r>
            <a:r>
              <a:rPr lang="en-GB" sz="2300" dirty="0" err="1">
                <a:solidFill>
                  <a:schemeClr val="bg1"/>
                </a:solidFill>
              </a:rPr>
              <a:t>Kashefpakdel</a:t>
            </a:r>
            <a:endParaRPr lang="en-GB" sz="2300" dirty="0">
              <a:solidFill>
                <a:schemeClr val="bg1"/>
              </a:solidFill>
            </a:endParaRPr>
          </a:p>
          <a:p>
            <a:pPr>
              <a:buFont typeface="Raleway"/>
              <a:buNone/>
            </a:pPr>
            <a:r>
              <a:rPr lang="en-GB" sz="2300" dirty="0" smtClean="0">
                <a:solidFill>
                  <a:schemeClr val="bg1"/>
                </a:solidFill>
              </a:rPr>
              <a:t>Head of Research </a:t>
            </a:r>
            <a:r>
              <a:rPr lang="en-GB" sz="2300" dirty="0">
                <a:solidFill>
                  <a:schemeClr val="bg1"/>
                </a:solidFill>
              </a:rPr>
              <a:t>|  Education and Employers </a:t>
            </a:r>
          </a:p>
          <a:p>
            <a:pPr>
              <a:buFont typeface="Raleway"/>
              <a:buNone/>
            </a:pPr>
            <a:r>
              <a:rPr lang="en-GB" sz="2300" dirty="0">
                <a:solidFill>
                  <a:schemeClr val="bg1"/>
                </a:solidFill>
                <a:hlinkClick r:id="rId4"/>
              </a:rPr>
              <a:t>Elnaz.Kashef@educationandemployers.org</a:t>
            </a:r>
            <a:endParaRPr lang="en-GB" sz="2300" dirty="0">
              <a:solidFill>
                <a:schemeClr val="bg1"/>
              </a:solidFill>
            </a:endParaRPr>
          </a:p>
          <a:p>
            <a:pPr>
              <a:buFont typeface="Raleway"/>
              <a:buNone/>
            </a:pPr>
            <a:r>
              <a:rPr lang="en-GB" sz="2300" dirty="0">
                <a:solidFill>
                  <a:schemeClr val="bg1"/>
                </a:solidFill>
              </a:rPr>
              <a:t>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058" y="682562"/>
            <a:ext cx="4124934" cy="5674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93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12631"/>
            <a:ext cx="10972800" cy="864709"/>
          </a:xfrm>
        </p:spPr>
        <p:txBody>
          <a:bodyPr/>
          <a:lstStyle/>
          <a:p>
            <a:r>
              <a:rPr lang="en-GB" b="1" dirty="0"/>
              <a:t>New report published this wee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57593"/>
            <a:ext cx="10972800" cy="4876260"/>
          </a:xfrm>
        </p:spPr>
        <p:txBody>
          <a:bodyPr/>
          <a:lstStyle/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urvey </a:t>
            </a:r>
            <a:r>
              <a:rPr lang="en-GB" sz="2100" dirty="0" smtClean="0"/>
              <a:t>of 1,744 </a:t>
            </a:r>
            <a:r>
              <a:rPr lang="en-GB" sz="2100" dirty="0"/>
              <a:t>young people aged 19-24 in 2016 by </a:t>
            </a:r>
            <a:r>
              <a:rPr lang="en-GB" sz="2100" dirty="0" err="1"/>
              <a:t>Yougov</a:t>
            </a:r>
            <a:r>
              <a:rPr lang="en-GB" sz="2100" dirty="0"/>
              <a:t>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Twice the size compared to 2011 survey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Socially, geographically and demographically evenly distributed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 smtClean="0"/>
              <a:t>Frequency </a:t>
            </a:r>
            <a:r>
              <a:rPr lang="en-GB" sz="2100" dirty="0"/>
              <a:t>tables and descriptive, cross-tabulations and regressions using SPSS </a:t>
            </a:r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r>
              <a:rPr lang="en-GB" sz="2100" dirty="0"/>
              <a:t>Control variables: school type, parental education, free school meal, gender, ethnicity, region, education </a:t>
            </a:r>
            <a:r>
              <a:rPr lang="en-GB" sz="2100" dirty="0" smtClean="0"/>
              <a:t>level, age </a:t>
            </a:r>
            <a:endParaRPr lang="en-GB" sz="2100" dirty="0"/>
          </a:p>
          <a:p>
            <a:pPr marL="342900" indent="-342900">
              <a:lnSpc>
                <a:spcPct val="200000"/>
              </a:lnSpc>
              <a:buFont typeface="Courier New" panose="02070309020205020404" pitchFamily="49" charset="0"/>
              <a:buChar char="o"/>
            </a:pPr>
            <a:endParaRPr lang="en-GB" sz="21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132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1530" y="2080259"/>
            <a:ext cx="7500000" cy="971575"/>
          </a:xfrm>
        </p:spPr>
        <p:txBody>
          <a:bodyPr/>
          <a:lstStyle/>
          <a:p>
            <a:r>
              <a:rPr lang="en-GB" dirty="0"/>
              <a:t>Content of the repor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>
          <a:xfrm>
            <a:off x="914400" y="3051834"/>
            <a:ext cx="11107751" cy="2730002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recollection of school and college action to prepare them for the working worl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perceptions of how well their schools and colleges prepared them for working lif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Young adults’ perceptions on how schools and colleges could have better prepared them for the working world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000" dirty="0"/>
              <a:t>What schools and colleges did to help young adults succeed in the adult working world</a:t>
            </a:r>
            <a:br>
              <a:rPr lang="en-GB" sz="2000" dirty="0"/>
            </a:br>
            <a:endParaRPr lang="en-GB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05387" y="240150"/>
            <a:ext cx="1816765" cy="944962"/>
          </a:xfrm>
          <a:prstGeom prst="rect">
            <a:avLst/>
          </a:prstGeom>
        </p:spPr>
      </p:pic>
      <p:pic>
        <p:nvPicPr>
          <p:cNvPr id="5" name="Shape 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205386" y="1348590"/>
            <a:ext cx="1816765" cy="82311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5002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56068" y="2600586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Participation in selected teenage engagements with employer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621030" y="1976718"/>
            <a:ext cx="5486400" cy="1682862"/>
          </a:xfrm>
        </p:spPr>
        <p:txBody>
          <a:bodyPr/>
          <a:lstStyle/>
          <a:p>
            <a:pPr marL="177800" indent="0">
              <a:buNone/>
            </a:pPr>
            <a:r>
              <a:rPr lang="en-GB" sz="1500" dirty="0"/>
              <a:t>Between the ages of 14 and 19, did your school or college ever arrange for you to take part in any activities which involved employers/local business people? E.g. work experience, mentoring, enterprise competitions, careers advice, CV or interview workshops, workplace visits. If so, on how many different occasions (more or less) did it happen?”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1476597"/>
              </p:ext>
            </p:extLst>
          </p:nvPr>
        </p:nvGraphicFramePr>
        <p:xfrm>
          <a:off x="6602730" y="3509682"/>
          <a:ext cx="5234940" cy="2998171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14080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334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34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4-16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Percentage undertaking at 16-19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Work experience 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7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5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Job shadow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Enterprise competition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0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39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Mentoring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2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4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2589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Career advice with employer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9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6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601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Part-time employmen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>
                          <a:effectLst/>
                        </a:rPr>
                        <a:t>18%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39%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914300"/>
              </p:ext>
            </p:extLst>
          </p:nvPr>
        </p:nvGraphicFramePr>
        <p:xfrm>
          <a:off x="1200101" y="3709038"/>
          <a:ext cx="3630298" cy="2800795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15843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459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355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b="1" dirty="0">
                          <a:solidFill>
                            <a:schemeClr val="bg1"/>
                          </a:solidFill>
                          <a:effectLst/>
                        </a:rPr>
                        <a:t>Percent in 2016</a:t>
                      </a:r>
                      <a:endParaRPr lang="en-GB" sz="12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Never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9.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On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36.3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Twice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23.1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Three time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8.7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Four or more times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>
                          <a:effectLst/>
                        </a:rPr>
                        <a:t>12.9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421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Average number 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200" dirty="0">
                          <a:effectLst/>
                        </a:rPr>
                        <a:t>1.60</a:t>
                      </a:r>
                      <a:endParaRPr lang="en-GB" sz="12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cxnSp>
        <p:nvCxnSpPr>
          <p:cNvPr id="9" name="Shape 376"/>
          <p:cNvCxnSpPr/>
          <p:nvPr/>
        </p:nvCxnSpPr>
        <p:spPr>
          <a:xfrm flipH="1">
            <a:off x="5979805" y="1921190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621030" y="135376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32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4637"/>
            <a:ext cx="11005457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8885480"/>
              </p:ext>
            </p:extLst>
          </p:nvPr>
        </p:nvGraphicFramePr>
        <p:xfrm>
          <a:off x="1567544" y="1618341"/>
          <a:ext cx="5370285" cy="4490608"/>
        </p:xfrm>
        <a:graphic>
          <a:graphicData uri="http://schemas.openxmlformats.org/drawingml/2006/table">
            <a:tbl>
              <a:tblPr firstRow="1" firstCol="1" bandRow="1">
                <a:tableStyleId>{4FF34115-5494-458A-87B9-3AD86FD8E5CF}</a:tableStyleId>
              </a:tblPr>
              <a:tblGrid>
                <a:gridCol w="749180"/>
                <a:gridCol w="2636300"/>
                <a:gridCol w="1984805"/>
              </a:tblGrid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Rank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Region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Average number of engagements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South East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77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=2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East Midlands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7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=2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West Midlands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7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4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London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62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5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Wales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58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Yorkshire and the Humber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57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=7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East of England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5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=7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North West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5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9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South West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52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0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North East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  <a:latin typeface="+mn-lt"/>
                        </a:rPr>
                        <a:t>1.46</a:t>
                      </a:r>
                      <a:endParaRPr lang="en-GB" sz="150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3637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11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Scotland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  <a:latin typeface="+mn-lt"/>
                        </a:rPr>
                        <a:t>1.45</a:t>
                      </a:r>
                      <a:endParaRPr lang="en-GB" sz="15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409543" y="2542845"/>
            <a:ext cx="3679372" cy="2641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 smtClean="0"/>
              <a:t>While South East has done the greatest number of activities, North East and South West have organised the least number of employers engagement activities across schools in the area. </a:t>
            </a:r>
            <a:endParaRPr lang="en-GB" sz="20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tangle 5"/>
          <p:cNvSpPr/>
          <p:nvPr/>
        </p:nvSpPr>
        <p:spPr>
          <a:xfrm>
            <a:off x="621030" y="135376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49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030" y="443153"/>
            <a:ext cx="11163300" cy="1325562"/>
          </a:xfrm>
        </p:spPr>
        <p:txBody>
          <a:bodyPr/>
          <a:lstStyle/>
          <a:p>
            <a:r>
              <a:rPr lang="en-GB" dirty="0"/>
              <a:t>Distribution of employer engagement activiti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030" y="1855153"/>
            <a:ext cx="5181601" cy="762317"/>
          </a:xfrm>
        </p:spPr>
        <p:txBody>
          <a:bodyPr/>
          <a:lstStyle/>
          <a:p>
            <a:pPr marL="0" indent="0">
              <a:buNone/>
            </a:pPr>
            <a:r>
              <a:rPr lang="en-GB" sz="1700" dirty="0"/>
              <a:t>Volume of activities by school </a:t>
            </a:r>
            <a:r>
              <a:rPr lang="en-GB" sz="1700" dirty="0" smtClean="0"/>
              <a:t>type, </a:t>
            </a:r>
            <a:r>
              <a:rPr lang="en-GB" sz="1700" dirty="0"/>
              <a:t>14-16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2"/>
          </p:nvPr>
        </p:nvSpPr>
        <p:spPr>
          <a:xfrm>
            <a:off x="6357354" y="1855152"/>
            <a:ext cx="5612128" cy="762317"/>
          </a:xfrm>
        </p:spPr>
        <p:txBody>
          <a:bodyPr/>
          <a:lstStyle/>
          <a:p>
            <a:pPr marL="177800" indent="0">
              <a:buNone/>
            </a:pPr>
            <a:r>
              <a:rPr lang="en-GB" sz="1700" dirty="0"/>
              <a:t>Volume by Indicators of social disadvantage: Free school meal and parental education</a:t>
            </a:r>
          </a:p>
        </p:txBody>
      </p:sp>
      <p:cxnSp>
        <p:nvCxnSpPr>
          <p:cNvPr id="9" name="Shape 376"/>
          <p:cNvCxnSpPr/>
          <p:nvPr/>
        </p:nvCxnSpPr>
        <p:spPr>
          <a:xfrm flipH="1">
            <a:off x="6344754" y="1855153"/>
            <a:ext cx="12600" cy="4652700"/>
          </a:xfrm>
          <a:prstGeom prst="straightConnector1">
            <a:avLst/>
          </a:prstGeom>
          <a:noFill/>
          <a:ln w="25400" cap="flat" cmpd="sng">
            <a:solidFill>
              <a:schemeClr val="bg1">
                <a:lumMod val="65000"/>
              </a:schemeClr>
            </a:solidFill>
            <a:prstDash val="solid"/>
            <a:miter/>
            <a:headEnd type="none" w="med" len="med"/>
            <a:tailEnd type="none" w="med" len="med"/>
          </a:ln>
        </p:spPr>
      </p:cxnSp>
      <p:pic>
        <p:nvPicPr>
          <p:cNvPr id="10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52956"/>
            <a:ext cx="1676400" cy="5718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6103250"/>
              </p:ext>
            </p:extLst>
          </p:nvPr>
        </p:nvGraphicFramePr>
        <p:xfrm>
          <a:off x="380366" y="2511517"/>
          <a:ext cx="5723724" cy="3703077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348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6613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2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53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601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505664">
                <a:tc rowSpan="2"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dirty="0">
                          <a:effectLst/>
                        </a:rPr>
                        <a:t>N= 1,676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School type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9547">
                <a:tc gridSpan="3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effectLst/>
                        </a:rPr>
                        <a:t>comprehensive school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Grammar / selective state school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Independent / fee-paying school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5735">
                <a:tc row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Never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effectLst/>
                        </a:rPr>
                        <a:t>18.5%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10.6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28.0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Once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39.3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29.4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23.6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5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Twice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22.7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33.2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16.1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9503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Three times 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8.3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effectLst/>
                        </a:rPr>
                        <a:t>10.6%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10.6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3849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Four or more times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11.3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16.2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>
                          <a:effectLst/>
                        </a:rPr>
                        <a:t>21.7%</a:t>
                      </a:r>
                      <a:endParaRPr lang="en-GB" sz="13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9456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effectLst/>
                        </a:rPr>
                        <a:t>Average number of activities 2016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b="1">
                          <a:effectLst/>
                        </a:rPr>
                        <a:t> </a:t>
                      </a:r>
                      <a:endParaRPr lang="en-GB" sz="1300" b="1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effectLst/>
                        </a:rPr>
                        <a:t>1.54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effectLst/>
                        </a:rPr>
                        <a:t>1.92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effectLst/>
                        </a:rPr>
                        <a:t>1.74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10" marR="9410" marT="941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6234001"/>
              </p:ext>
            </p:extLst>
          </p:nvPr>
        </p:nvGraphicFramePr>
        <p:xfrm>
          <a:off x="6598018" y="2724756"/>
          <a:ext cx="4957712" cy="112310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74102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1,659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FSM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b="1" dirty="0">
                          <a:effectLst/>
                        </a:rPr>
                        <a:t>1.63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0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610715"/>
              </p:ext>
            </p:extLst>
          </p:nvPr>
        </p:nvGraphicFramePr>
        <p:xfrm>
          <a:off x="6598018" y="4363056"/>
          <a:ext cx="4957712" cy="161504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344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0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275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0424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= 1,680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parents/carers went to university?</a:t>
                      </a:r>
                      <a:endParaRPr lang="en-GB" sz="13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7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No, neither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GB" sz="1300" dirty="0">
                          <a:solidFill>
                            <a:schemeClr val="bg1"/>
                          </a:solidFill>
                          <a:effectLst/>
                        </a:rPr>
                        <a:t>Yes, at least one of them did</a:t>
                      </a:r>
                      <a:endParaRPr lang="en-GB" sz="13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611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Average number of activities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 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dirty="0">
                          <a:effectLst/>
                        </a:rPr>
                        <a:t>1.55</a:t>
                      </a:r>
                      <a:endParaRPr lang="en-GB" sz="13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300" b="1" dirty="0">
                          <a:effectLst/>
                        </a:rPr>
                        <a:t>1.71</a:t>
                      </a:r>
                      <a:endParaRPr lang="en-GB" sz="1300" b="1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621030" y="135376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70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Young adults’ recollection of school and college action to prepare them for the working world</a:t>
            </a:r>
            <a:br>
              <a:rPr lang="en-GB" sz="2900" b="1" dirty="0"/>
            </a:br>
            <a:endParaRPr lang="en-GB" sz="2900" b="1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931670"/>
            <a:ext cx="10972800" cy="43962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attending selective and/or fee-paying institutions routinely recall greater levels of school-mediated employer engagement in terms of specific activities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Young adults in 2016 recall 1.6 school-mediated engagements with employers: </a:t>
            </a:r>
            <a:r>
              <a:rPr lang="en-GB" sz="2000" b="1" dirty="0"/>
              <a:t>22% greater employer engagement than in 2011</a:t>
            </a:r>
          </a:p>
          <a:p>
            <a:pPr lvl="0" algn="l">
              <a:buNone/>
            </a:pPr>
            <a:endParaRPr lang="en-GB" sz="1900" dirty="0"/>
          </a:p>
          <a:p>
            <a:pPr lvl="0" algn="l">
              <a:buNone/>
            </a:pPr>
            <a:endParaRPr lang="en-GB" sz="1900" dirty="0"/>
          </a:p>
          <a:p>
            <a:pPr marL="342900" lvl="0" indent="-342900" algn="l">
              <a:buFont typeface="Courier New" panose="02070309020205020404" pitchFamily="49" charset="0"/>
              <a:buChar char="o"/>
            </a:pPr>
            <a:r>
              <a:rPr lang="en-GB" sz="1900" dirty="0"/>
              <a:t>Disadvantage is associated with lower levels of engagement: former recipients of Free School Meals and children of parents without experience of higher education recall lower levels of engagement</a:t>
            </a:r>
          </a:p>
          <a:p>
            <a:pPr algn="l">
              <a:buNone/>
            </a:pPr>
            <a:r>
              <a:rPr lang="en-GB" sz="1900" dirty="0"/>
              <a:t> </a:t>
            </a:r>
          </a:p>
        </p:txBody>
      </p:sp>
      <p:pic>
        <p:nvPicPr>
          <p:cNvPr id="7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846317" y="6286200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162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689771"/>
            <a:ext cx="10972800" cy="1333339"/>
          </a:xfrm>
        </p:spPr>
        <p:txBody>
          <a:bodyPr/>
          <a:lstStyle/>
          <a:p>
            <a:r>
              <a:rPr lang="en-GB" sz="2900" b="1" dirty="0"/>
              <a:t>Young adults’ perceptions of how well their schools and colleges prepared them for working lif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2148840"/>
            <a:ext cx="10972800" cy="3771900"/>
          </a:xfrm>
        </p:spPr>
        <p:txBody>
          <a:bodyPr/>
          <a:lstStyle/>
          <a:p>
            <a:pPr algn="l">
              <a:buNone/>
            </a:pPr>
            <a:r>
              <a:rPr lang="en-GB" sz="1900" b="1" dirty="0"/>
              <a:t>Key findings: </a:t>
            </a:r>
          </a:p>
          <a:p>
            <a:pPr algn="l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young people educated in the state sector think that their schools prepared them poorly for adult working life 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Young adults who experienced greater volume of school-mediated employer engagement feel better prepared for the adult working world</a:t>
            </a:r>
          </a:p>
          <a:p>
            <a:pPr lvl="0">
              <a:buNone/>
            </a:pPr>
            <a:endParaRPr lang="en-GB" sz="1900" dirty="0"/>
          </a:p>
          <a:p>
            <a:pPr lvl="0">
              <a:buNone/>
            </a:pPr>
            <a:endParaRPr lang="en-GB" sz="1900" dirty="0"/>
          </a:p>
          <a:p>
            <a:pPr marL="342900" lvl="0" indent="-342900">
              <a:buFont typeface="Courier New" panose="02070309020205020404" pitchFamily="49" charset="0"/>
              <a:buChar char="o"/>
            </a:pPr>
            <a:r>
              <a:rPr lang="en-GB" sz="1900" dirty="0"/>
              <a:t>Most employer engagement was not helpful ( making decisions at age 16, applying for university, applying for jobs) unless teenagers recalled 3-4+ activities</a:t>
            </a:r>
          </a:p>
          <a:p>
            <a:pPr lvl="0">
              <a:buNone/>
            </a:pPr>
            <a:endParaRPr lang="en-GB" sz="1900" dirty="0"/>
          </a:p>
        </p:txBody>
      </p:sp>
      <p:pic>
        <p:nvPicPr>
          <p:cNvPr id="5" name="Shape 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515600" y="6286200"/>
            <a:ext cx="1676400" cy="5718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6"/>
          <p:cNvSpPr/>
          <p:nvPr/>
        </p:nvSpPr>
        <p:spPr>
          <a:xfrm>
            <a:off x="846317" y="6286200"/>
            <a:ext cx="16642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GB" b="1" dirty="0">
                <a:solidFill>
                  <a:srgbClr val="00B0F0"/>
                </a:solidFill>
              </a:rPr>
              <a:t>@</a:t>
            </a:r>
            <a:r>
              <a:rPr lang="en-GB" b="1" dirty="0" err="1">
                <a:solidFill>
                  <a:srgbClr val="00B0F0"/>
                </a:solidFill>
              </a:rPr>
              <a:t>Edu_Eresearch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9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qHVe_uwEiEDZL6RePo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RZyfAOqkWys7RZmMkw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qccaCpY0.nJdoFBHKK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yHcnA3E2ZuUlgqDm_eQ"/>
</p:tagLst>
</file>

<file path=ppt/theme/theme1.xml><?xml version="1.0" encoding="utf-8"?>
<a:theme xmlns:a="http://schemas.openxmlformats.org/drawingml/2006/main" name="Blank">
  <a:themeElements>
    <a:clrScheme name="Office">
      <a:dk1>
        <a:srgbClr val="000000"/>
      </a:dk1>
      <a:lt1>
        <a:srgbClr val="FFFFFF"/>
      </a:lt1>
      <a:dk2>
        <a:srgbClr val="6E747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85296"/>
      </a:hlink>
      <a:folHlink>
        <a:srgbClr val="99336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Hamlet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3</TotalTime>
  <Words>2607</Words>
  <Application>Microsoft Office PowerPoint</Application>
  <PresentationFormat>Widescreen</PresentationFormat>
  <Paragraphs>696</Paragraphs>
  <Slides>20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Calibri Light</vt:lpstr>
      <vt:lpstr>Nixie One</vt:lpstr>
      <vt:lpstr>Cambria</vt:lpstr>
      <vt:lpstr>Raleway</vt:lpstr>
      <vt:lpstr>Corbel</vt:lpstr>
      <vt:lpstr>Courier New</vt:lpstr>
      <vt:lpstr>Calibri</vt:lpstr>
      <vt:lpstr>Wingdings</vt:lpstr>
      <vt:lpstr>Arial</vt:lpstr>
      <vt:lpstr>Blank</vt:lpstr>
      <vt:lpstr>Office Theme</vt:lpstr>
      <vt:lpstr>Hamlet template</vt:lpstr>
      <vt:lpstr>1_Office Theme</vt:lpstr>
      <vt:lpstr>2_Office Theme</vt:lpstr>
      <vt:lpstr>PowerPoint Presentation</vt:lpstr>
      <vt:lpstr>In the past…</vt:lpstr>
      <vt:lpstr>New report published this week</vt:lpstr>
      <vt:lpstr>Content of the report</vt:lpstr>
      <vt:lpstr>Distribution of employer engagement activities</vt:lpstr>
      <vt:lpstr>Distribution of employer engagement activities</vt:lpstr>
      <vt:lpstr>Distribution of employer engagement activities</vt:lpstr>
      <vt:lpstr>Young adults’ recollection of school and college action to prepare them for the working world </vt:lpstr>
      <vt:lpstr>Young adults’ perceptions of how well their schools and colleges prepared them for working life</vt:lpstr>
      <vt:lpstr>a) Most young people educated in the state sector think that their schools prepared them poorly for adult working life;   b) Young adults who experienced greater volume of school-mediated employer engagement feel better prepared for the adult working world </vt:lpstr>
      <vt:lpstr>a) Most employer engagement wasn’t helpful in making decisions at age 16 unless teenagers recalled 4+ activities  b) Most employer engagement wasn’t helpful in applying for university unless teenagers recalled 4+ activities  c)Most employer engagement wasn’t helpful in applying for a full-time job, but participation in 3+ activities made a big difference </vt:lpstr>
      <vt:lpstr>If you found the activities helpful, tell us the reason…</vt:lpstr>
      <vt:lpstr>Young adults’ perceptions on how schools and colleges could have better prepared them for the working world</vt:lpstr>
      <vt:lpstr>Young adults’ career ambitions </vt:lpstr>
      <vt:lpstr>What schools and colleges did to help young adults succeed in the adult working world</vt:lpstr>
      <vt:lpstr>Young adults experienced wage premiums linked to individual activities where they felt their school(s) had prepared them well for adult life </vt:lpstr>
      <vt:lpstr>Higher volumes of school-mediated employer engagement are associated with reduced incidence of NEET</vt:lpstr>
      <vt:lpstr>Undertaking individual employer engagement activities is associated with reduced incidence of being NEET*</vt:lpstr>
      <vt:lpstr>Implications for policy and practice</vt:lpstr>
      <vt:lpstr>Thank you for your time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r Elnaz T. Kashefpakdel  Senior Researcher | Education and Employers  elnaz.kashef@educationandemployers.org</dc:title>
  <dc:creator>Elnaz Kashef</dc:creator>
  <cp:lastModifiedBy>Jordan Rehill</cp:lastModifiedBy>
  <cp:revision>80</cp:revision>
  <cp:lastPrinted>2017-01-17T10:55:20Z</cp:lastPrinted>
  <dcterms:modified xsi:type="dcterms:W3CDTF">2017-05-09T09:54:59Z</dcterms:modified>
</cp:coreProperties>
</file>